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4"/>
    <p:sldMasterId id="2147483713" r:id="rId5"/>
    <p:sldMasterId id="2147483736" r:id="rId6"/>
    <p:sldMasterId id="2147483744" r:id="rId7"/>
    <p:sldMasterId id="2147483759" r:id="rId8"/>
    <p:sldMasterId id="2147483779" r:id="rId9"/>
  </p:sldMasterIdLst>
  <p:notesMasterIdLst>
    <p:notesMasterId r:id="rId30"/>
  </p:notesMasterIdLst>
  <p:handoutMasterIdLst>
    <p:handoutMasterId r:id="rId31"/>
  </p:handoutMasterIdLst>
  <p:sldIdLst>
    <p:sldId id="2145706208" r:id="rId10"/>
    <p:sldId id="1038" r:id="rId11"/>
    <p:sldId id="2145706259" r:id="rId12"/>
    <p:sldId id="1009" r:id="rId13"/>
    <p:sldId id="2145706253" r:id="rId14"/>
    <p:sldId id="2146848791" r:id="rId15"/>
    <p:sldId id="952" r:id="rId16"/>
    <p:sldId id="956" r:id="rId17"/>
    <p:sldId id="2145706231" r:id="rId18"/>
    <p:sldId id="2146848796" r:id="rId19"/>
    <p:sldId id="925" r:id="rId20"/>
    <p:sldId id="1003" r:id="rId21"/>
    <p:sldId id="1586" r:id="rId22"/>
    <p:sldId id="2145706207" r:id="rId23"/>
    <p:sldId id="2145706252" r:id="rId24"/>
    <p:sldId id="2145706255" r:id="rId25"/>
    <p:sldId id="2145706256" r:id="rId26"/>
    <p:sldId id="257" r:id="rId27"/>
    <p:sldId id="968" r:id="rId28"/>
    <p:sldId id="973" r:id="rId29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0DE2B543-58A4-4887-9824-64D56AF237C6}">
          <p14:sldIdLst>
            <p14:sldId id="2145706208"/>
            <p14:sldId id="1038"/>
            <p14:sldId id="2145706259"/>
            <p14:sldId id="1009"/>
            <p14:sldId id="2145706253"/>
            <p14:sldId id="2146848791"/>
            <p14:sldId id="952"/>
            <p14:sldId id="956"/>
            <p14:sldId id="2145706231"/>
            <p14:sldId id="2146848796"/>
            <p14:sldId id="925"/>
            <p14:sldId id="1003"/>
            <p14:sldId id="1586"/>
            <p14:sldId id="2145706207"/>
            <p14:sldId id="2145706252"/>
            <p14:sldId id="2145706255"/>
            <p14:sldId id="2145706256"/>
            <p14:sldId id="257"/>
            <p14:sldId id="968"/>
            <p14:sldId id="973"/>
          </p14:sldIdLst>
        </p14:section>
        <p14:section name="Backup" id="{623ECA86-1E28-4361-8A0E-3A5BFFABEF6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392" userDrawn="1">
          <p15:clr>
            <a:srgbClr val="A4A3A4"/>
          </p15:clr>
        </p15:guide>
        <p15:guide id="2" orient="horz" pos="3576" userDrawn="1">
          <p15:clr>
            <a:srgbClr val="A4A3A4"/>
          </p15:clr>
        </p15:guide>
        <p15:guide id="3" pos="2616" userDrawn="1">
          <p15:clr>
            <a:srgbClr val="A4A3A4"/>
          </p15:clr>
        </p15:guide>
        <p15:guide id="4" pos="888" userDrawn="1">
          <p15:clr>
            <a:srgbClr val="A4A3A4"/>
          </p15:clr>
        </p15:guide>
        <p15:guide id="5" pos="2208" userDrawn="1">
          <p15:clr>
            <a:srgbClr val="A4A3A4"/>
          </p15:clr>
        </p15:guide>
        <p15:guide id="6" pos="9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EC9D78-3985-2665-720F-5AAC64719E85}" name="Jessica Schindler" initials="JS" userId="S::Jessica.Schmucker@novelis.com::3a471f9d-073f-4947-b1f5-0e066e91fda4" providerId="AD"/>
  <p188:author id="{FE21FA85-1728-88D6-9A25-E13AEAC16BA3}" name="Anke Hoebelmann" initials="AH" userId="S::anke.hoebelmann@novelis.com::e9c9c96e-b0d4-4864-b931-3710d33d24f6" providerId="AD"/>
  <p188:author id="{5369DF90-525E-6487-94B1-BBDCD4CEED30}" name="Susann Aamara" initials="SA" userId="S::Susann.Aamara@novelis.com::c4ab8bfa-d73a-43de-bcf9-c07599c086c6" providerId="AD"/>
  <p188:author id="{F59E24A5-F1C4-949E-F02E-96096E281B6C}" name="Jessica Schindler" initials="JS" userId="S::jessica.schindler@novelis.com::3a471f9d-073f-4947-b1f5-0e066e91fda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ke Hoebelmann" initials="AH" lastIdx="1" clrIdx="0">
    <p:extLst>
      <p:ext uri="{19B8F6BF-5375-455C-9EA6-DF929625EA0E}">
        <p15:presenceInfo xmlns:p15="http://schemas.microsoft.com/office/powerpoint/2012/main" userId="S::anke.hoebelmann@novelis.com::e9c9c96e-b0d4-4864-b931-3710d33d24f6" providerId="AD"/>
      </p:ext>
    </p:extLst>
  </p:cmAuthor>
  <p:cmAuthor id="2" name="Ursula Berndsen" initials="UB" lastIdx="2" clrIdx="1">
    <p:extLst>
      <p:ext uri="{19B8F6BF-5375-455C-9EA6-DF929625EA0E}">
        <p15:presenceInfo xmlns:p15="http://schemas.microsoft.com/office/powerpoint/2012/main" userId="S::ursula.berndsen@novelis.com::bf538300-0459-4118-a3ed-b63cb5102212" providerId="AD"/>
      </p:ext>
    </p:extLst>
  </p:cmAuthor>
  <p:cmAuthor id="3" name="Stephanie Woermann" initials="SW" lastIdx="1" clrIdx="2">
    <p:extLst>
      <p:ext uri="{19B8F6BF-5375-455C-9EA6-DF929625EA0E}">
        <p15:presenceInfo xmlns:p15="http://schemas.microsoft.com/office/powerpoint/2012/main" userId="S::Stephanie.Woermann@novelis.com::371158dc-4efd-431a-8fcd-f03ed164ab48" providerId="AD"/>
      </p:ext>
    </p:extLst>
  </p:cmAuthor>
  <p:cmAuthor id="4" name="Melanie Lambelet" initials="ML" lastIdx="1" clrIdx="3">
    <p:extLst>
      <p:ext uri="{19B8F6BF-5375-455C-9EA6-DF929625EA0E}">
        <p15:presenceInfo xmlns:p15="http://schemas.microsoft.com/office/powerpoint/2012/main" userId="S::melanie.lambelet@novelis.com::44536c27-f5fd-4a3d-9679-659749043ed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97BF4"/>
    <a:srgbClr val="25D3FF"/>
    <a:srgbClr val="04090D"/>
    <a:srgbClr val="050D10"/>
    <a:srgbClr val="0C2658"/>
    <a:srgbClr val="0D265A"/>
    <a:srgbClr val="0B2452"/>
    <a:srgbClr val="D24F97"/>
    <a:srgbClr val="00AE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F87F96-1EB1-48F7-BD90-805A615F7012}" v="12" dt="2022-09-27T11:52:30.9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688" y="56"/>
      </p:cViewPr>
      <p:guideLst>
        <p:guide orient="horz" pos="1392"/>
        <p:guide orient="horz" pos="3576"/>
        <p:guide pos="2616"/>
        <p:guide pos="888"/>
        <p:guide pos="2208"/>
        <p:guide pos="9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722440944881885E-2"/>
          <c:y val="4.85291757437364E-2"/>
          <c:w val="0.93533196295429266"/>
          <c:h val="0.716065475351518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rbon Footpri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Global average</c:v>
                </c:pt>
                <c:pt idx="1">
                  <c:v>CO2-free electricity</c:v>
                </c:pt>
                <c:pt idx="2">
                  <c:v>Recycling proces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</c:v>
                </c:pt>
                <c:pt idx="1">
                  <c:v>4.3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81-C54B-9007-5EC7781C313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nergy Consumptio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Global average</c:v>
                </c:pt>
                <c:pt idx="1">
                  <c:v>CO2-free electricity</c:v>
                </c:pt>
                <c:pt idx="2">
                  <c:v>Recycling proces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7</c:v>
                </c:pt>
                <c:pt idx="1">
                  <c:v>17</c:v>
                </c:pt>
                <c:pt idx="2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81-C54B-9007-5EC7781C31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58283088"/>
        <c:axId val="558287664"/>
      </c:barChart>
      <c:catAx>
        <c:axId val="558283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58287664"/>
        <c:crosses val="autoZero"/>
        <c:auto val="1"/>
        <c:lblAlgn val="ctr"/>
        <c:lblOffset val="100"/>
        <c:noMultiLvlLbl val="0"/>
      </c:catAx>
      <c:valAx>
        <c:axId val="558287664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58283088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"/>
          <p:cNvSpPr>
            <a:spLocks noGrp="1"/>
          </p:cNvSpPr>
          <p:nvPr>
            <p:ph type="ftr" sz="quarter" idx="2"/>
          </p:nvPr>
        </p:nvSpPr>
        <p:spPr>
          <a:xfrm>
            <a:off x="0" y="9034200"/>
            <a:ext cx="5376000" cy="567000"/>
          </a:xfrm>
          <a:prstGeom prst="rect">
            <a:avLst/>
          </a:prstGeom>
        </p:spPr>
        <p:txBody>
          <a:bodyPr vert="horz" lIns="380556" tIns="0" rIns="0" bIns="190278" rtlCol="0" anchor="b"/>
          <a:lstStyle>
            <a:lvl1pPr algn="l">
              <a:defRPr sz="1300"/>
            </a:lvl1pPr>
          </a:lstStyle>
          <a:p>
            <a:endParaRPr lang="de-DE">
              <a:latin typeface="Arial" panose="020B0604020202020204" pitchFamily="34" charset="0"/>
            </a:endParaRP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3"/>
          </p:nvPr>
        </p:nvSpPr>
        <p:spPr>
          <a:xfrm>
            <a:off x="5779200" y="9034200"/>
            <a:ext cx="1536000" cy="567000"/>
          </a:xfrm>
          <a:prstGeom prst="rect">
            <a:avLst/>
          </a:prstGeom>
        </p:spPr>
        <p:txBody>
          <a:bodyPr vert="horz" lIns="0" tIns="0" rIns="380556" bIns="190278" rtlCol="0" anchor="b"/>
          <a:lstStyle>
            <a:lvl1pPr algn="r">
              <a:defRPr sz="1300"/>
            </a:lvl1pPr>
          </a:lstStyle>
          <a:p>
            <a:fld id="{CD9C266D-9BF6-45DD-93F4-23D3D4380AFF}" type="slidenum">
              <a:rPr lang="de-DE" smtClean="0">
                <a:latin typeface="Arial" panose="020B0604020202020204" pitchFamily="34" charset="0"/>
              </a:rPr>
              <a:t>‹Nr.›</a:t>
            </a:fld>
            <a:endParaRPr 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939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34975" y="454025"/>
            <a:ext cx="6445250" cy="3625850"/>
          </a:xfrm>
          <a:prstGeom prst="rect">
            <a:avLst/>
          </a:prstGeom>
          <a:noFill/>
          <a:ln w="12700">
            <a:solidFill>
              <a:prstClr val="black"/>
            </a:solidFill>
            <a:miter lim="800000"/>
          </a:ln>
        </p:spPr>
        <p:txBody>
          <a:bodyPr vert="horz" lIns="0" tIns="0" rIns="0" bIns="0" rtlCol="0" anchor="ctr"/>
          <a:lstStyle/>
          <a:p>
            <a:endParaRPr lang="de-DE" noProof="0"/>
          </a:p>
        </p:txBody>
      </p:sp>
      <p:sp>
        <p:nvSpPr>
          <p:cNvPr id="5" name="Notizen"/>
          <p:cNvSpPr>
            <a:spLocks noGrp="1"/>
          </p:cNvSpPr>
          <p:nvPr>
            <p:ph type="body" sz="quarter" idx="3"/>
          </p:nvPr>
        </p:nvSpPr>
        <p:spPr bwMode="gray">
          <a:xfrm>
            <a:off x="383999" y="4460400"/>
            <a:ext cx="6547200" cy="42714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4"/>
          </p:nvPr>
        </p:nvSpPr>
        <p:spPr bwMode="gray">
          <a:xfrm>
            <a:off x="0" y="9034200"/>
            <a:ext cx="5376000" cy="567000"/>
          </a:xfrm>
          <a:prstGeom prst="rect">
            <a:avLst/>
          </a:prstGeom>
        </p:spPr>
        <p:txBody>
          <a:bodyPr vert="horz" lIns="380556" tIns="0" rIns="0" bIns="190278" rtlCol="0" anchor="b"/>
          <a:lstStyle>
            <a:lvl1pPr algn="l">
              <a:defRPr sz="13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5"/>
          </p:nvPr>
        </p:nvSpPr>
        <p:spPr bwMode="gray">
          <a:xfrm>
            <a:off x="5779200" y="9034200"/>
            <a:ext cx="1536000" cy="567000"/>
          </a:xfrm>
          <a:prstGeom prst="rect">
            <a:avLst/>
          </a:prstGeom>
        </p:spPr>
        <p:txBody>
          <a:bodyPr vert="horz" lIns="0" tIns="0" rIns="380556" bIns="190278" rtlCol="0" anchor="b"/>
          <a:lstStyle>
            <a:lvl1pPr algn="r">
              <a:defRPr sz="1300">
                <a:latin typeface="Arial" panose="020B0604020202020204" pitchFamily="34" charset="0"/>
              </a:defRPr>
            </a:lvl1pPr>
          </a:lstStyle>
          <a:p>
            <a:fld id="{92DA5471-CC57-402A-9527-36A1D012F69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53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>
                <a:latin typeface="+mn-lt"/>
                <a:cs typeface="Calibri"/>
              </a:rPr>
              <a:t>Introduction </a:t>
            </a:r>
            <a:r>
              <a:rPr lang="en-US" sz="1300">
                <a:latin typeface="+mn-lt"/>
                <a:cs typeface="Calibri"/>
              </a:rPr>
              <a:t>Claudia </a:t>
            </a:r>
            <a:endParaRPr lang="en-US" b="0" i="0" dirty="0">
              <a:solidFill>
                <a:srgbClr val="000000"/>
              </a:solidFill>
              <a:effectLst/>
              <a:latin typeface="Calibri"/>
              <a:cs typeface="Calibri"/>
            </a:endParaRPr>
          </a:p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02920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nd as you can see</a:t>
            </a:r>
          </a:p>
          <a:p>
            <a:endParaRPr lang="en-US"/>
          </a:p>
          <a:p>
            <a:pPr defTabSz="966612">
              <a:defRPr/>
            </a:pPr>
            <a:r>
              <a:rPr lang="en-US">
                <a:effectLst/>
                <a:latin typeface="-apple-system"/>
              </a:rPr>
              <a:t>Given the current European security and energy crises we need a new approach </a:t>
            </a:r>
            <a:r>
              <a:rPr lang="en-US" err="1">
                <a:effectLst/>
                <a:latin typeface="-apple-system"/>
              </a:rPr>
              <a:t>maximising</a:t>
            </a:r>
            <a:r>
              <a:rPr lang="en-US">
                <a:effectLst/>
                <a:latin typeface="-apple-system"/>
              </a:rPr>
              <a:t> both energy and resource efficiency with the same level of importance.</a:t>
            </a:r>
            <a:r>
              <a:rPr lang="en-US">
                <a:latin typeface="-apple-system"/>
              </a:rPr>
              <a:t> </a:t>
            </a:r>
            <a:endParaRPr lang="en-US">
              <a:effectLst/>
              <a:latin typeface="-apple-system"/>
            </a:endParaRPr>
          </a:p>
          <a:p>
            <a:r>
              <a:rPr lang="en-US"/>
              <a:t>see from our can carbon footprint reduction roadmap for Europe, the biggest lever for us are increasing recycling rates and recycled content</a:t>
            </a:r>
          </a:p>
          <a:p>
            <a:pPr marL="181240" indent="-181240">
              <a:buChar char="-"/>
            </a:pPr>
            <a:endParaRPr lang="en-US">
              <a:cs typeface="Arial" panose="020B0604020202020204" pitchFamily="34" charset="0"/>
            </a:endParaRPr>
          </a:p>
          <a:p>
            <a:pPr marL="180975" indent="-180975">
              <a:buFont typeface="Wingdings" panose="05000000000000000000" pitchFamily="2" charset="2"/>
              <a:buChar char="à"/>
            </a:pPr>
            <a:r>
              <a:rPr lang="en-US">
                <a:latin typeface="Arial"/>
                <a:cs typeface="Arial"/>
                <a:sym typeface="Wingdings" panose="05000000000000000000" pitchFamily="2" charset="2"/>
              </a:rPr>
              <a:t>The biggest lever for carbon footprint reduction is increasing Recycling Rates and Recycled content</a:t>
            </a:r>
            <a:endParaRPr lang="en-US">
              <a:latin typeface="Arial"/>
              <a:cs typeface="Arial"/>
            </a:endParaRPr>
          </a:p>
          <a:p>
            <a:pPr marL="181240" indent="-181240">
              <a:buFont typeface="Wingdings" panose="05000000000000000000" pitchFamily="2" charset="2"/>
              <a:buChar char="à"/>
            </a:pPr>
            <a:endParaRPr lang="en-US">
              <a:sym typeface="Wingdings" panose="05000000000000000000" pitchFamily="2" charset="2"/>
            </a:endParaRPr>
          </a:p>
          <a:p>
            <a:r>
              <a:rPr lang="en-US">
                <a:latin typeface="Arial"/>
                <a:cs typeface="Arial"/>
                <a:sym typeface="Wingdings" panose="05000000000000000000" pitchFamily="2" charset="2"/>
              </a:rPr>
              <a:t>[Following slide++, Claudia will highlight the importance of increasing RR; the slide++ after that, Alex will highlight the importance of increasing RC]</a:t>
            </a:r>
            <a:endParaRPr lang="de-DE">
              <a:latin typeface="Arial"/>
              <a:cs typeface="Arial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47398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What is really important to understand is the potential of closed loop recycling to produce extra product units in multiple recycling, this grows exponentially the higher the recycling rate is  </a:t>
            </a:r>
          </a:p>
          <a:p>
            <a:endParaRPr lang="en-GB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hen placing 1 packaging container on the market, depending on the collection and recycling process, the amount of material that is captured and subsequently recycled varies significantly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y a separate collection system is implemented, with a capture rate of 90%. This would mean that out of 1 kg of container, 0,9kg are captured. Assuming a 100% perfect recycling yield, these 0,9kg would be recycled into 0,9 kg of container again. It would then re-enter the market, and go through the same proces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fter the second cycle, 0,81 kg would have been captured (0,9 * 0,9), and recycled into 0,81 kg available for a new life. </a:t>
            </a:r>
            <a:r>
              <a:rPr lang="en-GB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tc</a:t>
            </a: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etc… After several more iterations, using an original input of 1kg containers, you would have produced </a:t>
            </a:r>
            <a:r>
              <a:rPr lang="es-ES" sz="800" dirty="0"/>
              <a:t>+0.9+0.8+0.7+0.7+0.6+0.5+…=9 kg </a:t>
            </a:r>
            <a:r>
              <a:rPr lang="es-ES" sz="800" dirty="0" err="1"/>
              <a:t>recycled</a:t>
            </a:r>
            <a:r>
              <a:rPr lang="es-ES" sz="800" dirty="0"/>
              <a:t> container material </a:t>
            </a:r>
            <a:r>
              <a:rPr lang="en-GB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efore the material is depleted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127F7A-9410-4849-BA0B-B714B25D87F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8255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Here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se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differences</a:t>
            </a:r>
            <a:r>
              <a:rPr lang="de-DE"/>
              <a:t>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ber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units</a:t>
            </a:r>
            <a:r>
              <a:rPr lang="de-DE"/>
              <a:t> that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</a:t>
            </a:r>
            <a:r>
              <a:rPr lang="de-DE" err="1"/>
              <a:t>mad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recycled material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one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pu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market</a:t>
            </a:r>
            <a:r>
              <a:rPr lang="de-DE"/>
              <a:t> – </a:t>
            </a:r>
            <a:r>
              <a:rPr lang="de-DE" err="1"/>
              <a:t>depending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ecycling</a:t>
            </a:r>
            <a:r>
              <a:rPr lang="de-DE"/>
              <a:t> rate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/>
              <a:t>In Europe, with an </a:t>
            </a:r>
            <a:r>
              <a:rPr lang="de-DE" err="1"/>
              <a:t>average</a:t>
            </a:r>
            <a:r>
              <a:rPr lang="de-DE"/>
              <a:t> </a:t>
            </a:r>
            <a:r>
              <a:rPr lang="de-DE" err="1"/>
              <a:t>recycling</a:t>
            </a:r>
            <a:r>
              <a:rPr lang="de-DE"/>
              <a:t> rate </a:t>
            </a:r>
            <a:r>
              <a:rPr lang="de-DE" err="1"/>
              <a:t>of</a:t>
            </a:r>
            <a:r>
              <a:rPr lang="de-DE"/>
              <a:t> 76%, </a:t>
            </a:r>
            <a:r>
              <a:rPr lang="de-DE" err="1"/>
              <a:t>these</a:t>
            </a:r>
            <a:r>
              <a:rPr lang="de-DE"/>
              <a:t> </a:t>
            </a:r>
            <a:r>
              <a:rPr lang="de-DE" err="1"/>
              <a:t>are</a:t>
            </a:r>
            <a:r>
              <a:rPr lang="de-DE"/>
              <a:t> 2.5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cans</a:t>
            </a:r>
            <a:endParaRPr lang="de-DE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/>
              <a:t>In Germany, </a:t>
            </a:r>
            <a:r>
              <a:rPr lang="de-DE" err="1"/>
              <a:t>wih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highest</a:t>
            </a:r>
            <a:r>
              <a:rPr lang="de-DE"/>
              <a:t> </a:t>
            </a:r>
            <a:r>
              <a:rPr lang="de-DE" err="1"/>
              <a:t>beverage</a:t>
            </a:r>
            <a:r>
              <a:rPr lang="de-DE"/>
              <a:t> </a:t>
            </a:r>
            <a:r>
              <a:rPr lang="de-DE" err="1"/>
              <a:t>can</a:t>
            </a:r>
            <a:r>
              <a:rPr lang="de-DE"/>
              <a:t> </a:t>
            </a:r>
            <a:r>
              <a:rPr lang="de-DE" err="1"/>
              <a:t>recycling</a:t>
            </a:r>
            <a:r>
              <a:rPr lang="de-DE"/>
              <a:t> rate i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world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99%, 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would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14.5 </a:t>
            </a:r>
            <a:r>
              <a:rPr lang="de-DE" err="1"/>
              <a:t>units</a:t>
            </a:r>
            <a:endParaRPr lang="de-DE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/>
              <a:t>With </a:t>
            </a:r>
            <a:r>
              <a:rPr lang="de-DE" err="1"/>
              <a:t>Ball‘s</a:t>
            </a:r>
            <a:r>
              <a:rPr lang="de-DE"/>
              <a:t> global 2030 </a:t>
            </a:r>
            <a:r>
              <a:rPr lang="de-DE" err="1"/>
              <a:t>target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90% </a:t>
            </a:r>
            <a:r>
              <a:rPr lang="de-DE" err="1"/>
              <a:t>recycling</a:t>
            </a:r>
            <a:r>
              <a:rPr lang="de-DE"/>
              <a:t> rate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would</a:t>
            </a:r>
            <a:r>
              <a:rPr lang="de-DE"/>
              <a:t> </a:t>
            </a:r>
            <a:r>
              <a:rPr lang="de-DE" err="1"/>
              <a:t>be</a:t>
            </a:r>
            <a:r>
              <a:rPr lang="de-DE"/>
              <a:t> still 5.7.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units</a:t>
            </a:r>
            <a:endParaRPr lang="de-DE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55177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02066" indent="-302066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Focus RC% as a lever for decarbonization</a:t>
            </a:r>
          </a:p>
          <a:p>
            <a:r>
              <a:rPr lang="en-US" sz="1300">
                <a:solidFill>
                  <a:srgbClr val="000000"/>
                </a:solidFill>
                <a:latin typeface="+mn-lt"/>
              </a:rPr>
              <a:t>---------------------------------------------------</a:t>
            </a:r>
            <a:endParaRPr lang="en-US" sz="1300">
              <a:solidFill>
                <a:srgbClr val="000000"/>
              </a:solidFill>
              <a:latin typeface="+mn-lt"/>
              <a:cs typeface="Arial"/>
            </a:endParaRPr>
          </a:p>
          <a:p>
            <a:endParaRPr lang="en-US" sz="1300">
              <a:solidFill>
                <a:srgbClr val="000000"/>
              </a:solidFill>
              <a:latin typeface="+mn-lt"/>
            </a:endParaRPr>
          </a:p>
          <a:p>
            <a:pPr marL="302066" indent="-302066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Increasing RC % in products drastically lowers their carbon footprint</a:t>
            </a:r>
            <a:endParaRPr lang="en-US" sz="1300">
              <a:solidFill>
                <a:srgbClr val="000000"/>
              </a:solidFill>
              <a:latin typeface="+mn-lt"/>
              <a:cs typeface="Arial"/>
            </a:endParaRPr>
          </a:p>
          <a:p>
            <a:pPr marL="302066" indent="-302066">
              <a:buFont typeface="Arial" panose="020B0604020202020204" pitchFamily="34" charset="0"/>
              <a:buChar char="•"/>
            </a:pPr>
            <a:r>
              <a:rPr lang="en-US" sz="1300">
                <a:latin typeface="+mn-lt"/>
                <a:ea typeface="Times New Roman" panose="02020603050405020304" pitchFamily="18" charset="0"/>
                <a:cs typeface="Calibri"/>
              </a:rPr>
              <a:t>Recycling is the true pathway to decarbonization</a:t>
            </a:r>
          </a:p>
          <a:p>
            <a:pPr marL="302066" indent="-302066">
              <a:buFont typeface="Arial" panose="020B0604020202020204" pitchFamily="34" charset="0"/>
              <a:buChar char="•"/>
            </a:pPr>
            <a:endParaRPr lang="en-US" sz="1300">
              <a:latin typeface="+mn-lt"/>
              <a:ea typeface="Times New Roman" panose="02020603050405020304" pitchFamily="18" charset="0"/>
            </a:endParaRPr>
          </a:p>
          <a:p>
            <a:pPr marL="302066" indent="-302066">
              <a:buFont typeface="Arial,Sans-Serif" panose="020B0604020202020204" pitchFamily="34" charset="0"/>
              <a:buChar char="•"/>
            </a:pPr>
            <a:r>
              <a:rPr lang="en-US" sz="1300">
                <a:latin typeface="+mn-lt"/>
                <a:cs typeface="Arial"/>
              </a:rPr>
              <a:t>The global average for the carbon footprint of primary aluminium is around 17 t CO2eq/t Al</a:t>
            </a:r>
          </a:p>
          <a:p>
            <a:pPr marL="302066" indent="-302066">
              <a:buFont typeface="Arial,Sans-Serif" panose="020B0604020202020204" pitchFamily="34" charset="0"/>
              <a:buChar char="•"/>
            </a:pPr>
            <a:r>
              <a:rPr lang="en-US" sz="1300">
                <a:latin typeface="+mn-lt"/>
                <a:cs typeface="Arial"/>
              </a:rPr>
              <a:t>Low carbon primary aluminium, based on CO2-free electricity for the smelting process (4-4.5 t CO2eq/t Al), reduces CO2 emissions by around 80 % compared to coal-based primary aluminium production (~20 t CO2eq / t Al). </a:t>
            </a:r>
          </a:p>
          <a:p>
            <a:pPr marL="302066" indent="-302066">
              <a:buFont typeface="Arial,Sans-Serif" panose="020B0604020202020204" pitchFamily="34" charset="0"/>
              <a:buChar char="•"/>
            </a:pPr>
            <a:r>
              <a:rPr lang="en-US" sz="1300">
                <a:latin typeface="+mn-lt"/>
                <a:cs typeface="Arial"/>
              </a:rPr>
              <a:t>But still, the lowest carbon aluminium is recycled aluminium, with only 0.5 t CO2-eq/t Al for the recycling process.</a:t>
            </a:r>
          </a:p>
          <a:p>
            <a:pPr marL="302066" indent="-302066">
              <a:buFont typeface="Arial" panose="020B0604020202020204" pitchFamily="34" charset="0"/>
              <a:buChar char="•"/>
            </a:pPr>
            <a:endParaRPr lang="en-US" sz="1300">
              <a:latin typeface="+mn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02066" indent="-302066">
              <a:buFont typeface="Arial,Sans-Serif" panose="020B0604020202020204" pitchFamily="34" charset="0"/>
              <a:buChar char="•"/>
            </a:pPr>
            <a:r>
              <a:rPr lang="en-US" sz="1300">
                <a:latin typeface="+mn-lt"/>
                <a:cs typeface="Arial"/>
              </a:rPr>
              <a:t>And – to give the full picture on the benefits of recycling:</a:t>
            </a:r>
          </a:p>
          <a:p>
            <a:pPr marL="302066" indent="-302066">
              <a:buFont typeface="Arial,Sans-Serif" panose="020B0604020202020204" pitchFamily="34" charset="0"/>
              <a:buChar char="•"/>
              <a:defRPr/>
            </a:pPr>
            <a:r>
              <a:rPr lang="en-US" sz="1300">
                <a:latin typeface="+mn-lt"/>
                <a:cs typeface="Arial"/>
              </a:rPr>
              <a:t>Recycling aluminum, saves around 95 % of energy compared to the production of primary aluminum [160 GJ/t Al vs. 8.5 GJ/t Al]. In times like today, where we all have to save as much energy as possible, recycling aluminum is thus even more important than ever.</a:t>
            </a:r>
          </a:p>
          <a:p>
            <a:pPr marL="302066" indent="-302066">
              <a:buFont typeface="Arial,Sans-Serif" panose="020B0604020202020204" pitchFamily="34" charset="0"/>
              <a:buChar char="•"/>
              <a:defRPr/>
            </a:pPr>
            <a:r>
              <a:rPr lang="en-US" sz="1300">
                <a:latin typeface="+mn-lt"/>
                <a:cs typeface="Arial"/>
              </a:rPr>
              <a:t>Low carbon primary aluminium saves carbon emissions but still requires as much energy as coal-based primary aluminium. Decarbonizing electricity does not per se reduce the amount of energy required for producing primary aluminium. </a:t>
            </a:r>
          </a:p>
          <a:p>
            <a:pPr marL="302066" indent="-302066">
              <a:buFont typeface="Arial" panose="020B0604020202020204" pitchFamily="34" charset="0"/>
              <a:buChar char="•"/>
            </a:pPr>
            <a:endParaRPr lang="en-US" sz="1300">
              <a:solidFill>
                <a:srgbClr val="000000"/>
              </a:solidFill>
              <a:latin typeface="+mn-lt"/>
            </a:endParaRPr>
          </a:p>
          <a:p>
            <a:pPr marL="302066" indent="-302066">
              <a:buFont typeface="Arial,Sans-Serif" panose="020B0604020202020204" pitchFamily="34" charset="0"/>
              <a:buChar char="•"/>
            </a:pPr>
            <a:r>
              <a:rPr lang="en-US" sz="1300">
                <a:latin typeface="+mn-lt"/>
                <a:cs typeface="Arial"/>
              </a:rPr>
              <a:t>At Novelis we are building on recycling as the key lever for reducing not only the carbon footprint, but also the energy intensity of our material. </a:t>
            </a:r>
          </a:p>
          <a:p>
            <a:pPr marL="302066" indent="-302066">
              <a:buFont typeface="Arial,Sans-Serif" panose="020B0604020202020204" pitchFamily="34" charset="0"/>
              <a:buChar char="•"/>
            </a:pPr>
            <a:r>
              <a:rPr lang="en-US" sz="1300">
                <a:latin typeface="+mn-lt"/>
                <a:cs typeface="Arial"/>
              </a:rPr>
              <a:t>Recycling is the most energy efficient process for aluminium production and emits the least carbon. </a:t>
            </a:r>
          </a:p>
          <a:p>
            <a:endParaRPr lang="en-US" sz="1300">
              <a:solidFill>
                <a:srgbClr val="000000"/>
              </a:solidFill>
              <a:latin typeface="+mn-lt"/>
            </a:endParaRPr>
          </a:p>
          <a:p>
            <a:r>
              <a:rPr lang="en-US" sz="1300">
                <a:solidFill>
                  <a:srgbClr val="000000"/>
                </a:solidFill>
                <a:latin typeface="+mn-lt"/>
              </a:rPr>
              <a:t>---------------------------------------------------------------------------------------------------------------------------------------------------------------------------</a:t>
            </a:r>
            <a:endParaRPr lang="en-US" sz="1300">
              <a:solidFill>
                <a:srgbClr val="000000"/>
              </a:solidFill>
              <a:latin typeface="+mn-lt"/>
              <a:cs typeface="Arial"/>
            </a:endParaRPr>
          </a:p>
          <a:p>
            <a:r>
              <a:rPr lang="en-US" sz="1300">
                <a:solidFill>
                  <a:srgbClr val="000000"/>
                </a:solidFill>
                <a:latin typeface="+mn-lt"/>
              </a:rPr>
              <a:t>BACKGROUND INFORMATION</a:t>
            </a:r>
            <a:endParaRPr lang="en-US" sz="1300">
              <a:solidFill>
                <a:srgbClr val="000000"/>
              </a:solidFill>
              <a:latin typeface="+mn-lt"/>
              <a:cs typeface="Arial"/>
            </a:endParaRPr>
          </a:p>
          <a:p>
            <a:endParaRPr lang="en-US" sz="1300">
              <a:solidFill>
                <a:srgbClr val="000000"/>
              </a:solidFill>
              <a:latin typeface="+mn-lt"/>
            </a:endParaRPr>
          </a:p>
          <a:p>
            <a:pPr marL="362480" indent="-362480">
              <a:buFont typeface="Symbol" panose="05050102010706020507" pitchFamily="18" charset="2"/>
              <a:buChar char=""/>
            </a:pPr>
            <a:r>
              <a:rPr lang="en-US" sz="1300">
                <a:latin typeface="+mn-lt"/>
                <a:ea typeface="Times New Roman" panose="02020603050405020304" pitchFamily="18" charset="0"/>
                <a:cs typeface="Calibri"/>
              </a:rPr>
              <a:t>If a plant switches from fossil fuel to renewable energy --&gt; no impact on the energy consumption. </a:t>
            </a:r>
            <a:endParaRPr lang="en-US" sz="1300">
              <a:latin typeface="+mn-lt"/>
              <a:ea typeface="Calibri" panose="020F0502020204030204" pitchFamily="34" charset="0"/>
              <a:cs typeface="Calibri"/>
            </a:endParaRPr>
          </a:p>
          <a:p>
            <a:pPr marL="362480" indent="-362480">
              <a:buFont typeface="Symbol" panose="05050102010706020507" pitchFamily="18" charset="2"/>
              <a:buChar char=""/>
            </a:pPr>
            <a:r>
              <a:rPr lang="en-US" sz="1300">
                <a:latin typeface="+mn-lt"/>
                <a:ea typeface="Calibri" panose="020F0502020204030204" pitchFamily="34" charset="0"/>
                <a:cs typeface="Calibri"/>
              </a:rPr>
              <a:t>Decarbonizing electricity for the electrolysis does not per se reduce the amount of energy required for producing primary aluminium. </a:t>
            </a:r>
            <a:endParaRPr lang="en-US" sz="1300">
              <a:latin typeface="+mn-lt"/>
              <a:ea typeface="Calibri" panose="020F0502020204030204" pitchFamily="34" charset="0"/>
            </a:endParaRPr>
          </a:p>
          <a:p>
            <a:pPr algn="l"/>
            <a:endParaRPr lang="de-DE" sz="13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99267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300">
                <a:solidFill>
                  <a:schemeClr val="accent6"/>
                </a:solidFill>
              </a:rPr>
              <a:t>Therefore, we work towards 100% RC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300">
              <a:solidFill>
                <a:schemeClr val="accent6"/>
              </a:solidFill>
            </a:endParaRP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300">
                <a:solidFill>
                  <a:schemeClr val="accent6"/>
                </a:solidFill>
              </a:rPr>
              <a:t>We already are the frontrunner in producing low carbon aluminium sheet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300">
                <a:solidFill>
                  <a:schemeClr val="accent6"/>
                </a:solidFill>
              </a:rPr>
              <a:t>NE aluminium sheet is made out of around 75% RC (CBS, CES, CTS)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300">
                <a:solidFill>
                  <a:schemeClr val="accent6"/>
                </a:solidFill>
              </a:rPr>
              <a:t>Our ambition for the next less than 10 years will be to deliver material that will enable our can customers to produce cans made of almost 100% RC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300">
              <a:solidFill>
                <a:schemeClr val="accent6"/>
              </a:solidFill>
            </a:endParaRP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The game changer will be to use an </a:t>
            </a:r>
            <a:r>
              <a:rPr lang="en-US" sz="1300" err="1">
                <a:solidFill>
                  <a:schemeClr val="accent6"/>
                </a:solidFill>
              </a:rPr>
              <a:t>uni</a:t>
            </a:r>
            <a:r>
              <a:rPr lang="en-US" sz="1300">
                <a:solidFill>
                  <a:schemeClr val="accent6"/>
                </a:solidFill>
              </a:rPr>
              <a:t>-alloy for CES and CBS </a:t>
            </a:r>
            <a:r>
              <a:rPr lang="en-US" sz="1300">
                <a:solidFill>
                  <a:schemeClr val="accent6"/>
                </a:solidFill>
                <a:sym typeface="Wingdings" panose="05000000000000000000" pitchFamily="2" charset="2"/>
              </a:rPr>
              <a:t> and of course a high recycled one.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  <a:sym typeface="Wingdings" panose="05000000000000000000" pitchFamily="2" charset="2"/>
              </a:rPr>
              <a:t>Take a look a the current can with CES at 2g / 7.6 tCO2eq/</a:t>
            </a:r>
            <a:r>
              <a:rPr lang="en-US" sz="1300" err="1">
                <a:solidFill>
                  <a:schemeClr val="accent6"/>
                </a:solidFill>
                <a:sym typeface="Wingdings" panose="05000000000000000000" pitchFamily="2" charset="2"/>
              </a:rPr>
              <a:t>tAl</a:t>
            </a:r>
            <a:r>
              <a:rPr lang="en-US" sz="1300">
                <a:solidFill>
                  <a:schemeClr val="accent6"/>
                </a:solidFill>
                <a:sym typeface="Wingdings" panose="05000000000000000000" pitchFamily="2" charset="2"/>
              </a:rPr>
              <a:t> and CBS at 10g / 2.6 tCO2eq/</a:t>
            </a:r>
            <a:r>
              <a:rPr lang="en-US" sz="1300" err="1">
                <a:solidFill>
                  <a:schemeClr val="accent6"/>
                </a:solidFill>
                <a:sym typeface="Wingdings" panose="05000000000000000000" pitchFamily="2" charset="2"/>
              </a:rPr>
              <a:t>tAl</a:t>
            </a:r>
            <a:r>
              <a:rPr lang="en-US" sz="1300">
                <a:solidFill>
                  <a:schemeClr val="accent6"/>
                </a:solidFill>
                <a:sym typeface="Wingdings" panose="05000000000000000000" pitchFamily="2" charset="2"/>
              </a:rPr>
              <a:t>.</a:t>
            </a:r>
          </a:p>
          <a:p>
            <a:pPr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</a:pPr>
            <a:endParaRPr lang="en-US" sz="1300">
              <a:solidFill>
                <a:schemeClr val="accent6"/>
              </a:solidFill>
            </a:endParaRPr>
          </a:p>
          <a:p>
            <a:endParaRPr lang="en-US" sz="13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85576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With an HRC </a:t>
            </a:r>
            <a:r>
              <a:rPr lang="en-US" sz="1300" err="1">
                <a:solidFill>
                  <a:schemeClr val="accent6"/>
                </a:solidFill>
              </a:rPr>
              <a:t>uni</a:t>
            </a:r>
            <a:r>
              <a:rPr lang="en-US" sz="1300">
                <a:solidFill>
                  <a:schemeClr val="accent6"/>
                </a:solidFill>
              </a:rPr>
              <a:t>-alloy for CES and CBS we can lift the RC% extensively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The material for producing a can will overall contain more than 95% RC</a:t>
            </a:r>
          </a:p>
          <a:p>
            <a:pPr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</a:pPr>
            <a:endParaRPr lang="en-US" sz="1300">
              <a:solidFill>
                <a:schemeClr val="accent6"/>
              </a:solidFill>
            </a:endParaRP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And the best thing?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By slightly increasing the weight of a can – this will more than halving it´s carbon footprint</a:t>
            </a:r>
          </a:p>
          <a:p>
            <a:endParaRPr lang="en-US" sz="21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64297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…will more than halving it´s carbon footprint</a:t>
            </a:r>
          </a:p>
          <a:p>
            <a:pPr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</a:pPr>
            <a:endParaRPr lang="en-US" sz="1300">
              <a:solidFill>
                <a:schemeClr val="accent6"/>
              </a:solidFill>
            </a:endParaRP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[The beverage can industry used to optimize the carbon footprint of their products by reducing weight. Today we know that the game changer is about using a material as low carbon as possible].</a:t>
            </a:r>
          </a:p>
          <a:p>
            <a:pPr marL="302066" indent="-302066">
              <a:lnSpc>
                <a:spcPct val="110000"/>
              </a:lnSpc>
              <a:spcAft>
                <a:spcPts val="1057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>
                <a:solidFill>
                  <a:schemeClr val="accent6"/>
                </a:solidFill>
              </a:rPr>
              <a:t>[This is the concept of </a:t>
            </a:r>
            <a:r>
              <a:rPr lang="en-US" sz="1300" err="1">
                <a:solidFill>
                  <a:schemeClr val="accent6"/>
                </a:solidFill>
              </a:rPr>
              <a:t>uni</a:t>
            </a:r>
            <a:r>
              <a:rPr lang="en-US" sz="1300">
                <a:solidFill>
                  <a:schemeClr val="accent6"/>
                </a:solidFill>
              </a:rPr>
              <a:t>-alloy that we are currently working on industry level].</a:t>
            </a:r>
          </a:p>
          <a:p>
            <a:endParaRPr lang="en-US" sz="21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23290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latin typeface="+mn-lt"/>
              </a:rPr>
              <a:t>To achieve this vision, there are a couple of to-dos within our business but also in collaboration with our customers and partner as well as for the government.</a:t>
            </a:r>
          </a:p>
          <a:p>
            <a:endParaRPr lang="en-US" sz="1300"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latin typeface="+mn-lt"/>
              </a:rPr>
              <a:t>First: our own operations - creating new alloy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GB" sz="1300">
                <a:solidFill>
                  <a:srgbClr val="000000"/>
                </a:solidFill>
                <a:latin typeface="+mn-lt"/>
              </a:rPr>
              <a:t>Enhance</a:t>
            </a:r>
            <a:r>
              <a:rPr lang="de-DE" sz="1300">
                <a:solidFill>
                  <a:srgbClr val="000000"/>
                </a:solidFill>
                <a:latin typeface="+mn-lt"/>
              </a:rPr>
              <a:t> R&amp;D activities &amp; collaborations for material innovation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solidFill>
                  <a:srgbClr val="000000"/>
                </a:solidFill>
                <a:latin typeface="+mn-lt"/>
              </a:rPr>
              <a:t>New scrap segregation technologie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solidFill>
                  <a:srgbClr val="000000"/>
                </a:solidFill>
                <a:latin typeface="+mn-lt"/>
              </a:rPr>
              <a:t>In general, s</a:t>
            </a:r>
            <a:r>
              <a:rPr lang="en-US" sz="1300" err="1">
                <a:solidFill>
                  <a:srgbClr val="000000"/>
                </a:solidFill>
                <a:latin typeface="+mn-lt"/>
              </a:rPr>
              <a:t>upport</a:t>
            </a:r>
            <a:r>
              <a:rPr lang="en-US" sz="1300">
                <a:solidFill>
                  <a:srgbClr val="000000"/>
                </a:solidFill>
                <a:latin typeface="+mn-lt"/>
              </a:rPr>
              <a:t> low carbon and low energy production processes. </a:t>
            </a:r>
          </a:p>
          <a:p>
            <a:endParaRPr lang="de-DE" sz="1300">
              <a:solidFill>
                <a:srgbClr val="000000"/>
              </a:solidFill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solidFill>
                  <a:srgbClr val="000000"/>
                </a:solidFill>
                <a:latin typeface="+mn-lt"/>
              </a:rPr>
              <a:t>Second: close cooperations with our customers, such as Ball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latin typeface="+mn-lt"/>
                <a:ea typeface="Calibri" panose="020F0502020204030204" pitchFamily="34" charset="0"/>
              </a:rPr>
              <a:t>Commitment to develop closed-loop recycling systems and increase the consumption of EOL scrap.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latin typeface="+mn-lt"/>
                <a:ea typeface="Calibri" panose="020F0502020204030204" pitchFamily="34" charset="0"/>
              </a:rPr>
              <a:t>Joint effort to design high recycled content alloy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latin typeface="+mn-lt"/>
                <a:ea typeface="Calibri" panose="020F0502020204030204" pitchFamily="34" charset="0"/>
              </a:rPr>
              <a:t>[and to enhance the use of </a:t>
            </a:r>
            <a:r>
              <a:rPr lang="en-US" sz="1300" err="1">
                <a:latin typeface="+mn-lt"/>
                <a:ea typeface="Calibri" panose="020F0502020204030204" pitchFamily="34" charset="0"/>
              </a:rPr>
              <a:t>uni</a:t>
            </a:r>
            <a:r>
              <a:rPr lang="en-US" sz="1300">
                <a:latin typeface="+mn-lt"/>
                <a:ea typeface="Calibri" panose="020F0502020204030204" pitchFamily="34" charset="0"/>
              </a:rPr>
              <a:t>-alloys that will help to increase efficiency in recycling, enable a higher recycled content and preserve the alloying elements]</a:t>
            </a:r>
          </a:p>
          <a:p>
            <a:endParaRPr lang="de-DE" sz="1300">
              <a:solidFill>
                <a:srgbClr val="000000"/>
              </a:solidFill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Advocate for an enabling political framework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To incentivize circular product systems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Set minimum thresholds of RC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And to increase recycling rates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sz="1300">
              <a:solidFill>
                <a:srgbClr val="000000"/>
              </a:solidFill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  <a:sym typeface="Wingdings" panose="05000000000000000000" pitchFamily="2" charset="2"/>
              </a:rPr>
              <a:t> an </a:t>
            </a:r>
            <a:r>
              <a:rPr lang="en-US" sz="1300">
                <a:solidFill>
                  <a:srgbClr val="000000"/>
                </a:solidFill>
                <a:latin typeface="+mn-lt"/>
              </a:rPr>
              <a:t>ambition we share with Ball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sz="1900">
              <a:solidFill>
                <a:srgbClr val="000000"/>
              </a:solidFill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endParaRPr lang="de-DE" sz="19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de-DE" sz="19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/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63099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y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icie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ol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o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v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ward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al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rcularity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osing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oop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ting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ection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posit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urn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eme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tting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90% separate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ection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al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ll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verag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ckaging</a:t>
            </a:r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nning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ndfilling</a:t>
            </a:r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ximizing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ycling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ield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ality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t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ycling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chnologies</a:t>
            </a:r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entivize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osed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op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ycled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erials</a:t>
            </a:r>
            <a:r>
              <a:rPr lang="de-DE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s. Virgin material</a:t>
            </a:r>
          </a:p>
          <a:p>
            <a:endParaRPr lang="de-DE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effectLst/>
                <a:latin typeface="-apple-system"/>
              </a:rPr>
              <a:t>Increasing and improving closed-loop recycling and developing a more material-efficient value chain will be essential to enable further aluminium beverage can growth, help with energy and material supply issues, and significantly reduce carbon.</a:t>
            </a:r>
            <a:endParaRPr lang="de-DE" sz="1300">
              <a:latin typeface="+mn-lt"/>
            </a:endParaRP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127F7A-9410-4849-BA0B-B714B25D87F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481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Novelis has a strong ambition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We aim to be the leading provider of low-carbon, sustainable aluminium solution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That advances our business, industry and society toward the benefits of a circular economy.</a:t>
            </a:r>
          </a:p>
          <a:p>
            <a:endParaRPr lang="de-DE" sz="1300"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Novelis already is a world leader in aluminium rolling and can rely on it´s strong market presence</a:t>
            </a: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de-DE" sz="1300">
                <a:latin typeface="+mn-lt"/>
              </a:rPr>
              <a:t>What sets us apart is a global footprint – with 33 manufacturing locations across 9 countries and a strong performance record</a:t>
            </a: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endParaRPr lang="de-DE" sz="1300"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We provide superiore quality, innovative, low-carbon aluminium to a global market</a:t>
            </a: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de-DE" sz="1300">
                <a:latin typeface="+mn-lt"/>
              </a:rPr>
              <a:t>Last </a:t>
            </a:r>
            <a:r>
              <a:rPr lang="en-US" sz="1300">
                <a:solidFill>
                  <a:srgbClr val="000000"/>
                </a:solidFill>
                <a:latin typeface="+mn-lt"/>
              </a:rPr>
              <a:t>fiscal year we supplied 4,080kt aluminium products to our customers…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endParaRPr lang="de-DE"/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endParaRPr lang="en-US" sz="1300">
              <a:solidFill>
                <a:schemeClr val="bg1"/>
              </a:solidFill>
            </a:endParaRPr>
          </a:p>
          <a:p>
            <a:pPr defTabSz="966612">
              <a:defRPr/>
            </a:pPr>
            <a:endParaRPr lang="en-US" sz="1300">
              <a:solidFill>
                <a:schemeClr val="bg1"/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5878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…in the Can, Specialties, Automotive and Aerospace industry</a:t>
            </a:r>
            <a:endParaRPr lang="en-US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More than half of the shipments in FY2022 have been supplied to can customers</a:t>
            </a:r>
            <a:endParaRPr lang="en-US" sz="1300">
              <a:solidFill>
                <a:srgbClr val="000000"/>
              </a:solidFill>
              <a:latin typeface="+mn-lt"/>
              <a:cs typeface="Arial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endParaRPr lang="de-DE" sz="1300">
              <a:latin typeface="+mn-lt"/>
            </a:endParaRP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de-DE" sz="1300" err="1">
                <a:latin typeface="+mn-lt"/>
              </a:rPr>
              <a:t>We</a:t>
            </a:r>
            <a:r>
              <a:rPr lang="de-DE" sz="1300">
                <a:latin typeface="+mn-lt"/>
              </a:rPr>
              <a:t> </a:t>
            </a:r>
            <a:r>
              <a:rPr lang="de-DE" sz="1300" err="1">
                <a:latin typeface="+mn-lt"/>
              </a:rPr>
              <a:t>are</a:t>
            </a:r>
            <a:r>
              <a:rPr lang="de-DE" sz="1300">
                <a:latin typeface="+mn-lt"/>
              </a:rPr>
              <a:t> a reliable and strong </a:t>
            </a:r>
            <a:r>
              <a:rPr lang="de-DE" sz="1300" err="1">
                <a:latin typeface="+mn-lt"/>
              </a:rPr>
              <a:t>partner</a:t>
            </a:r>
            <a:r>
              <a:rPr lang="de-DE" sz="1300">
                <a:latin typeface="+mn-lt"/>
              </a:rPr>
              <a:t> </a:t>
            </a:r>
            <a:r>
              <a:rPr lang="de-DE" sz="1300" err="1">
                <a:latin typeface="+mn-lt"/>
              </a:rPr>
              <a:t>for</a:t>
            </a:r>
            <a:r>
              <a:rPr lang="de-DE" sz="1300">
                <a:latin typeface="+mn-lt"/>
              </a:rPr>
              <a:t> </a:t>
            </a:r>
            <a:r>
              <a:rPr lang="de-DE" sz="1300" err="1">
                <a:latin typeface="+mn-lt"/>
              </a:rPr>
              <a:t>our</a:t>
            </a:r>
            <a:r>
              <a:rPr lang="de-DE" sz="1300">
                <a:latin typeface="+mn-lt"/>
              </a:rPr>
              <a:t> </a:t>
            </a:r>
            <a:r>
              <a:rPr lang="de-DE" sz="1300" err="1">
                <a:latin typeface="+mn-lt"/>
              </a:rPr>
              <a:t>customers</a:t>
            </a:r>
            <a:endParaRPr lang="de-DE" sz="1300" err="1">
              <a:latin typeface="+mn-lt"/>
              <a:cs typeface="Arial"/>
            </a:endParaRPr>
          </a:p>
          <a:p>
            <a:pPr marL="180975" indent="-180975" defTabSz="966612">
              <a:buFont typeface="Arial" panose="020B0604020202020204" pitchFamily="34" charset="0"/>
              <a:buChar char="•"/>
              <a:defRPr/>
            </a:pPr>
            <a:r>
              <a:rPr lang="de-DE" sz="1300">
                <a:latin typeface="+mn-lt"/>
              </a:rPr>
              <a:t>[As </a:t>
            </a:r>
            <a:r>
              <a:rPr lang="de-DE" sz="1300" err="1">
                <a:latin typeface="+mn-lt"/>
              </a:rPr>
              <a:t>we</a:t>
            </a:r>
            <a:r>
              <a:rPr lang="de-DE" sz="1300">
                <a:latin typeface="+mn-lt"/>
              </a:rPr>
              <a:t> </a:t>
            </a:r>
            <a:r>
              <a:rPr lang="de-DE" sz="1300" err="1">
                <a:latin typeface="+mn-lt"/>
              </a:rPr>
              <a:t>are</a:t>
            </a:r>
            <a:r>
              <a:rPr lang="de-DE" sz="1300">
                <a:latin typeface="+mn-lt"/>
              </a:rPr>
              <a:t> </a:t>
            </a:r>
            <a:r>
              <a:rPr lang="de-DE" sz="1300" err="1">
                <a:latin typeface="+mn-lt"/>
              </a:rPr>
              <a:t>for</a:t>
            </a:r>
            <a:r>
              <a:rPr lang="de-DE" sz="1300">
                <a:latin typeface="+mn-lt"/>
              </a:rPr>
              <a:t> Ball; </a:t>
            </a:r>
            <a:r>
              <a:rPr lang="de-DE" sz="1300" err="1">
                <a:latin typeface="+mn-lt"/>
              </a:rPr>
              <a:t>as</a:t>
            </a:r>
            <a:r>
              <a:rPr lang="de-DE" sz="1300">
                <a:latin typeface="+mn-lt"/>
              </a:rPr>
              <a:t> </a:t>
            </a:r>
            <a:r>
              <a:rPr lang="de-DE" sz="1300" err="1">
                <a:latin typeface="+mn-lt"/>
                <a:sym typeface="Wingdings" panose="05000000000000000000" pitchFamily="2" charset="2"/>
              </a:rPr>
              <a:t>the</a:t>
            </a:r>
            <a:r>
              <a:rPr lang="de-DE" sz="1300">
                <a:latin typeface="+mn-lt"/>
                <a:sym typeface="Wingdings" panose="05000000000000000000" pitchFamily="2" charset="2"/>
              </a:rPr>
              <a:t> </a:t>
            </a:r>
            <a:r>
              <a:rPr lang="de-DE" sz="1300" err="1">
                <a:latin typeface="+mn-lt"/>
                <a:sym typeface="Wingdings" panose="05000000000000000000" pitchFamily="2" charset="2"/>
              </a:rPr>
              <a:t>largest</a:t>
            </a:r>
            <a:r>
              <a:rPr lang="de-DE" sz="1300">
                <a:latin typeface="+mn-lt"/>
                <a:sym typeface="Wingdings" panose="05000000000000000000" pitchFamily="2" charset="2"/>
              </a:rPr>
              <a:t> </a:t>
            </a:r>
            <a:r>
              <a:rPr lang="de-DE" sz="1300" err="1">
                <a:solidFill>
                  <a:srgbClr val="000000"/>
                </a:solidFill>
                <a:latin typeface="+mn-lt"/>
              </a:rPr>
              <a:t>producer</a:t>
            </a:r>
            <a:r>
              <a:rPr lang="de-DE" sz="130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300" err="1">
                <a:solidFill>
                  <a:srgbClr val="000000"/>
                </a:solidFill>
                <a:latin typeface="+mn-lt"/>
              </a:rPr>
              <a:t>of</a:t>
            </a:r>
            <a:r>
              <a:rPr lang="de-DE" sz="130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300" err="1">
                <a:solidFill>
                  <a:srgbClr val="000000"/>
                </a:solidFill>
                <a:latin typeface="+mn-lt"/>
              </a:rPr>
              <a:t>aluminium</a:t>
            </a:r>
            <a:r>
              <a:rPr lang="de-DE" sz="130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300" err="1">
                <a:solidFill>
                  <a:srgbClr val="000000"/>
                </a:solidFill>
                <a:latin typeface="+mn-lt"/>
              </a:rPr>
              <a:t>beverage</a:t>
            </a:r>
            <a:r>
              <a:rPr lang="de-DE" sz="130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300" err="1">
                <a:solidFill>
                  <a:srgbClr val="000000"/>
                </a:solidFill>
                <a:latin typeface="+mn-lt"/>
              </a:rPr>
              <a:t>can</a:t>
            </a:r>
            <a:r>
              <a:rPr lang="de-DE" sz="1300">
                <a:solidFill>
                  <a:srgbClr val="000000"/>
                </a:solidFill>
                <a:latin typeface="+mn-lt"/>
              </a:rPr>
              <a:t> </a:t>
            </a:r>
            <a:r>
              <a:rPr lang="de-DE" sz="1300" err="1">
                <a:solidFill>
                  <a:srgbClr val="000000"/>
                </a:solidFill>
                <a:latin typeface="+mn-lt"/>
              </a:rPr>
              <a:t>sheet</a:t>
            </a:r>
            <a:r>
              <a:rPr lang="de-DE" sz="1300">
                <a:solidFill>
                  <a:srgbClr val="000000"/>
                </a:solidFill>
                <a:latin typeface="+mn-lt"/>
              </a:rPr>
              <a:t>]</a:t>
            </a:r>
            <a:endParaRPr lang="en-US" sz="1300">
              <a:solidFill>
                <a:schemeClr val="bg1"/>
              </a:solidFill>
              <a:latin typeface="+mn-lt"/>
              <a:cs typeface="Arial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1513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Moreover, Novelis is the world´s largest recycler of aluminium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333333"/>
                </a:solidFill>
                <a:latin typeface="+mn-lt"/>
              </a:rPr>
              <a:t>We recycle more aluminum than anyone in the world – 2.2 million </a:t>
            </a:r>
            <a:r>
              <a:rPr lang="en-US" sz="1300" err="1">
                <a:solidFill>
                  <a:srgbClr val="333333"/>
                </a:solidFill>
                <a:latin typeface="+mn-lt"/>
              </a:rPr>
              <a:t>tonnes</a:t>
            </a:r>
            <a:r>
              <a:rPr lang="en-US" sz="1300">
                <a:solidFill>
                  <a:srgbClr val="333333"/>
                </a:solidFill>
                <a:latin typeface="+mn-lt"/>
              </a:rPr>
              <a:t> per year. 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Just speaking of used beverage cans – Novelis recycles more than 80B UBCs per year</a:t>
            </a:r>
          </a:p>
          <a:p>
            <a:endParaRPr lang="de-DE" sz="1300"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Sustainability is at our core – we made this the center of our business strategy over 11 years ago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Since then we have invested more than $1.1B in recycling 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de-DE" sz="1300">
                <a:latin typeface="+mn-lt"/>
              </a:rPr>
              <a:t>which helped us achieving an average RC of 57% across our product range</a:t>
            </a:r>
          </a:p>
          <a:p>
            <a:endParaRPr lang="de-DE" sz="1300"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Our aim is to achieve a fully circular economy by partnering with our suppliers, as well as our customers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0000"/>
                </a:solidFill>
                <a:latin typeface="+mn-lt"/>
              </a:rPr>
              <a:t>[a great success story to tell is our strong partnership with Ball and our joint commitment to circularity]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endParaRPr lang="de-DE" sz="1300">
              <a:latin typeface="+mn-lt"/>
            </a:endParaRPr>
          </a:p>
          <a:p>
            <a:pPr defTabSz="966612">
              <a:defRPr/>
            </a:pPr>
            <a:r>
              <a:rPr lang="de-DE" sz="1300">
                <a:latin typeface="+mn-lt"/>
              </a:rPr>
              <a:t>[Our focus on recycling drives us constantly forward to advance on our purpose of „Shaping a Sustainable World Together“]</a:t>
            </a:r>
          </a:p>
          <a:p>
            <a:endParaRPr lang="de-DE" sz="1300">
              <a:latin typeface="+mn-lt"/>
            </a:endParaRPr>
          </a:p>
          <a:p>
            <a:r>
              <a:rPr lang="de-DE" sz="1300">
                <a:latin typeface="+mn-lt"/>
              </a:rPr>
              <a:t>--------------------------------------------------------------------------</a:t>
            </a:r>
          </a:p>
          <a:p>
            <a:endParaRPr lang="de-DE" sz="130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6855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en-US" sz="1300">
                <a:solidFill>
                  <a:srgbClr val="0E2961"/>
                </a:solidFill>
                <a:latin typeface="+mn-lt"/>
              </a:rPr>
              <a:t>Another proof point for Novelis being a frontrunner in sustainability:</a:t>
            </a: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en-US" sz="1300">
                <a:solidFill>
                  <a:srgbClr val="0E2961"/>
                </a:solidFill>
                <a:latin typeface="+mn-lt"/>
              </a:rPr>
              <a:t>We support the </a:t>
            </a:r>
            <a:r>
              <a:rPr lang="en-US" sz="1300">
                <a:latin typeface="+mn-lt"/>
              </a:rPr>
              <a:t>Aluminium Stewardship Initiative - </a:t>
            </a:r>
            <a:r>
              <a:rPr lang="en-US" sz="1300">
                <a:solidFill>
                  <a:srgbClr val="0E2961"/>
                </a:solidFill>
                <a:latin typeface="+mn-lt"/>
              </a:rPr>
              <a:t>to maximize the contribution of aluminium to a sustainable future</a:t>
            </a:r>
            <a:endParaRPr lang="en-US" sz="1300">
              <a:solidFill>
                <a:srgbClr val="001224"/>
              </a:solidFill>
              <a:latin typeface="+mn-lt"/>
            </a:endParaRPr>
          </a:p>
          <a:p>
            <a:pPr marL="181240" indent="-181240" defTabSz="966612">
              <a:buFont typeface="Arial" panose="020B0604020202020204" pitchFamily="34" charset="0"/>
              <a:buChar char="•"/>
              <a:defRPr/>
            </a:pPr>
            <a:r>
              <a:rPr lang="en-US" sz="1300">
                <a:solidFill>
                  <a:srgbClr val="0E2961"/>
                </a:solidFill>
                <a:latin typeface="+mn-lt"/>
              </a:rPr>
              <a:t>By fostering responsible production, sourcing and stewardship of aluminium through the entire value chain</a:t>
            </a:r>
          </a:p>
          <a:p>
            <a:pPr defTabSz="966612">
              <a:defRPr/>
            </a:pPr>
            <a:endParaRPr lang="en-US" sz="1300">
              <a:solidFill>
                <a:srgbClr val="001224"/>
              </a:solidFill>
              <a:latin typeface="+mn-lt"/>
            </a:endParaRP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1224"/>
                </a:solidFill>
                <a:latin typeface="+mn-lt"/>
              </a:rPr>
              <a:t>Novelis currently has 18 ASI-certified plants in Europe, North America South America and Asia, and is actively pursuing ASI certifications for further Novelis plants across the globe</a:t>
            </a:r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001224"/>
                </a:solidFill>
                <a:latin typeface="+mn-lt"/>
              </a:rPr>
              <a:t>All of Novelis’ 10 manufacturing and recycling sites in Europe have achieved ASI Certifications for both Performance and Chain of Custody standards in 2021.</a:t>
            </a:r>
          </a:p>
          <a:p>
            <a:endParaRPr lang="de-DE" sz="1300">
              <a:latin typeface="+mn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65370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latin typeface="+mn-lt"/>
              </a:rPr>
              <a:t>Ball Beverage Packaging </a:t>
            </a:r>
            <a:r>
              <a:rPr lang="en-US" sz="1200">
                <a:latin typeface="+mn-lt"/>
              </a:rPr>
              <a:t>is the largest beverage can manufacturer worldwide. It is subsidiary of Ball Corporation which supplies aluminum packaging solutions to beverage, personal care and household customers as well aerospace technology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127F7A-9410-4849-BA0B-B714B25D87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528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>
                <a:latin typeface="+mn-lt"/>
              </a:rPr>
              <a:t>Here you see a selection of our customers across the 3 business units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05024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Ball was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 baseline="0"/>
              <a:t> </a:t>
            </a:r>
            <a:r>
              <a:rPr lang="de-DE" baseline="0" err="1"/>
              <a:t>beverage</a:t>
            </a:r>
            <a:r>
              <a:rPr lang="de-DE" baseline="0"/>
              <a:t> </a:t>
            </a:r>
            <a:r>
              <a:rPr lang="de-DE" baseline="0" err="1"/>
              <a:t>can</a:t>
            </a:r>
            <a:r>
              <a:rPr lang="de-DE" baseline="0"/>
              <a:t> </a:t>
            </a:r>
            <a:r>
              <a:rPr lang="de-DE" baseline="0" err="1"/>
              <a:t>producer</a:t>
            </a:r>
            <a:r>
              <a:rPr lang="de-DE" baseline="0"/>
              <a:t> </a:t>
            </a:r>
            <a:r>
              <a:rPr lang="de-DE" baseline="0" err="1"/>
              <a:t>who</a:t>
            </a:r>
            <a:r>
              <a:rPr lang="de-DE" baseline="0"/>
              <a:t> </a:t>
            </a:r>
            <a:r>
              <a:rPr lang="de-DE" baseline="0" err="1"/>
              <a:t>certified</a:t>
            </a:r>
            <a:r>
              <a:rPr lang="de-DE" baseline="0"/>
              <a:t> all </a:t>
            </a:r>
            <a:r>
              <a:rPr lang="de-DE" baseline="0" err="1"/>
              <a:t>its</a:t>
            </a:r>
            <a:r>
              <a:rPr lang="de-DE" baseline="0"/>
              <a:t> global </a:t>
            </a:r>
            <a:r>
              <a:rPr lang="de-DE" baseline="0" err="1"/>
              <a:t>beverage</a:t>
            </a:r>
            <a:r>
              <a:rPr lang="de-DE" baseline="0"/>
              <a:t> plants to </a:t>
            </a:r>
            <a:r>
              <a:rPr lang="de-DE" baseline="0" err="1"/>
              <a:t>the</a:t>
            </a:r>
            <a:r>
              <a:rPr lang="de-DE" baseline="0"/>
              <a:t> Aluminium Stewardship Initiative, </a:t>
            </a:r>
            <a:r>
              <a:rPr lang="de-DE" baseline="0" err="1"/>
              <a:t>starting</a:t>
            </a:r>
            <a:r>
              <a:rPr lang="de-DE" baseline="0"/>
              <a:t> with </a:t>
            </a:r>
            <a:r>
              <a:rPr lang="de-DE" baseline="0" err="1"/>
              <a:t>the</a:t>
            </a:r>
            <a:r>
              <a:rPr lang="de-DE" baseline="0"/>
              <a:t> EMEA </a:t>
            </a:r>
            <a:r>
              <a:rPr lang="de-DE" baseline="0" err="1"/>
              <a:t>region</a:t>
            </a:r>
            <a:r>
              <a:rPr lang="de-DE" baseline="0"/>
              <a:t> in 2019, </a:t>
            </a:r>
            <a:r>
              <a:rPr lang="de-DE" baseline="0" err="1"/>
              <a:t>until</a:t>
            </a:r>
            <a:r>
              <a:rPr lang="de-DE" baseline="0"/>
              <a:t> 2030 </a:t>
            </a:r>
            <a:r>
              <a:rPr lang="de-DE" baseline="0" err="1"/>
              <a:t>we</a:t>
            </a:r>
            <a:r>
              <a:rPr lang="de-DE" baseline="0"/>
              <a:t> </a:t>
            </a:r>
            <a:r>
              <a:rPr lang="de-DE" baseline="0" err="1"/>
              <a:t>want</a:t>
            </a:r>
            <a:r>
              <a:rPr lang="de-DE" baseline="0"/>
              <a:t> to have all our </a:t>
            </a:r>
            <a:r>
              <a:rPr lang="de-DE" baseline="0" err="1"/>
              <a:t>other</a:t>
            </a:r>
            <a:r>
              <a:rPr lang="de-DE" baseline="0"/>
              <a:t> </a:t>
            </a:r>
            <a:r>
              <a:rPr lang="de-DE" baseline="0" err="1"/>
              <a:t>business</a:t>
            </a:r>
            <a:r>
              <a:rPr lang="de-DE" baseline="0"/>
              <a:t> </a:t>
            </a:r>
            <a:r>
              <a:rPr lang="de-DE" baseline="0" err="1"/>
              <a:t>operations</a:t>
            </a:r>
            <a:r>
              <a:rPr lang="de-DE" baseline="0"/>
              <a:t> </a:t>
            </a:r>
            <a:r>
              <a:rPr lang="de-DE" baseline="0" err="1"/>
              <a:t>certified</a:t>
            </a:r>
            <a:r>
              <a:rPr lang="de-DE" baseline="0"/>
              <a:t> </a:t>
            </a:r>
            <a:r>
              <a:rPr lang="de-DE" baseline="0" err="1"/>
              <a:t>as</a:t>
            </a:r>
            <a:r>
              <a:rPr lang="de-DE" baseline="0"/>
              <a:t> </a:t>
            </a:r>
            <a:r>
              <a:rPr lang="de-DE" baseline="0" err="1"/>
              <a:t>well</a:t>
            </a:r>
            <a:r>
              <a:rPr lang="de-DE" baseline="0"/>
              <a:t>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127F7A-9410-4849-BA0B-B714B25D87F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9989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indent="-180975">
              <a:buFont typeface="Wingdings" panose="05000000000000000000" pitchFamily="2" charset="2"/>
              <a:buChar char="à"/>
            </a:pPr>
            <a:r>
              <a:rPr lang="en-US">
                <a:latin typeface="Arial"/>
                <a:cs typeface="Arial"/>
                <a:sym typeface="Wingdings" panose="05000000000000000000" pitchFamily="2" charset="2"/>
              </a:rPr>
              <a:t>Run video</a:t>
            </a:r>
            <a:endParaRPr lang="en-US">
              <a:latin typeface="Arial"/>
              <a:cs typeface="Arial"/>
            </a:endParaRPr>
          </a:p>
          <a:p>
            <a:endParaRPr lang="en-US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Long-standing partnership with Ball </a:t>
            </a:r>
            <a:endParaRPr lang="en-US">
              <a:cs typeface="Arial"/>
            </a:endParaRP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>
                <a:latin typeface="Arial"/>
                <a:cs typeface="Arial"/>
              </a:rPr>
              <a:t>Joint efforts to increase </a:t>
            </a:r>
            <a:r>
              <a:rPr lang="en-US" b="0" i="0">
                <a:solidFill>
                  <a:srgbClr val="000000"/>
                </a:solidFill>
                <a:effectLst/>
                <a:latin typeface="Inter"/>
              </a:rPr>
              <a:t>the recycling of aluminum beverage packaging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000000"/>
                </a:solidFill>
                <a:effectLst/>
                <a:latin typeface="Inter"/>
              </a:rPr>
              <a:t>Established closed-loop recycling systems &amp; increasing RC%</a:t>
            </a:r>
          </a:p>
          <a:p>
            <a:endParaRPr lang="en-US" b="0" i="0">
              <a:solidFill>
                <a:srgbClr val="000000"/>
              </a:solidFill>
              <a:effectLst/>
              <a:latin typeface="Inter"/>
            </a:endParaRP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000000"/>
                </a:solidFill>
                <a:effectLst/>
                <a:latin typeface="Inter"/>
              </a:rPr>
              <a:t>[USA: Ball Corporation and </a:t>
            </a:r>
            <a:r>
              <a:rPr lang="en-US" b="0" i="0" err="1">
                <a:solidFill>
                  <a:srgbClr val="000000"/>
                </a:solidFill>
                <a:effectLst/>
                <a:latin typeface="Inter"/>
              </a:rPr>
              <a:t>Novelis</a:t>
            </a:r>
            <a:r>
              <a:rPr lang="en-US" b="0" i="0">
                <a:solidFill>
                  <a:srgbClr val="000000"/>
                </a:solidFill>
                <a:effectLst/>
                <a:latin typeface="Inter"/>
              </a:rPr>
              <a:t> increased recycled Content of the Ball </a:t>
            </a:r>
            <a:r>
              <a:rPr lang="en-US" b="0" i="0" err="1">
                <a:solidFill>
                  <a:srgbClr val="000000"/>
                </a:solidFill>
                <a:effectLst/>
                <a:latin typeface="Inter"/>
              </a:rPr>
              <a:t>Aluminium</a:t>
            </a:r>
            <a:r>
              <a:rPr lang="en-US" b="0" i="0">
                <a:solidFill>
                  <a:srgbClr val="000000"/>
                </a:solidFill>
                <a:effectLst/>
                <a:latin typeface="Inter"/>
              </a:rPr>
              <a:t> Cup to 90%]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latin typeface="Inter"/>
            </a:endParaRP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latin typeface="Inter"/>
              </a:rPr>
              <a:t>Transition Claudia to next slide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8846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authwall?trk=gf&amp;trkInfo=AQEXw5tDm4ZgfQAAAX9FEEMA9_NetbBkfjHf0Usdf6r-eCxHPxbK18W5zOJ-xj2jBqmMl7jPn5IT03Q0SryKhKv4AgxU6Fav8ygtjUs3FHQyLH3vM4ij4G-2BMa5qMSu5OjosK8=&amp;originalReferer=https://de.novelis.com/&amp;sessionRedirect=https://www.linkedin.com/company/novelis/" TargetMode="External"/><Relationship Id="rId2" Type="http://schemas.openxmlformats.org/officeDocument/2006/relationships/hyperlink" Target="https://www.facebook.com/NovelisInc/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novelis.com/" TargetMode="External"/><Relationship Id="rId5" Type="http://schemas.openxmlformats.org/officeDocument/2006/relationships/hyperlink" Target="https://www.youtube.com/user/novelisinc" TargetMode="External"/><Relationship Id="rId4" Type="http://schemas.openxmlformats.org/officeDocument/2006/relationships/hyperlink" Target="https://twitter.com/novelis?lang=en" TargetMode="Externa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A35FA67-D642-4306-A3A2-0EF1761EC41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FF9827B-0EBC-41FB-B335-B7E10613A683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 bwMode="gray">
          <a:xfrm>
            <a:off x="-1" y="0"/>
            <a:ext cx="5811156" cy="6858000"/>
          </a:xfrm>
          <a:gradFill>
            <a:gsLst>
              <a:gs pos="1770">
                <a:schemeClr val="bg1">
                  <a:alpha val="80000"/>
                </a:schemeClr>
              </a:gs>
              <a:gs pos="54000">
                <a:schemeClr val="bg1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spPr>
        <p:txBody>
          <a:bodyPr lIns="540000" tIns="0" bIns="3132000"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/>
            </a:lvl1pPr>
          </a:lstStyle>
          <a:p>
            <a:pPr lvl="0"/>
            <a:r>
              <a:rPr lang="en-US"/>
              <a:t>Title </a:t>
            </a:r>
            <a:r>
              <a:rPr lang="en-US" noProof="0"/>
              <a:t>of</a:t>
            </a:r>
            <a:r>
              <a:rPr lang="en-US"/>
              <a:t> the</a:t>
            </a:r>
            <a:br>
              <a:rPr lang="en-US"/>
            </a:br>
            <a:r>
              <a:rPr lang="en-US" noProof="0"/>
              <a:t>presentation</a:t>
            </a:r>
            <a:r>
              <a:rPr lang="en-US"/>
              <a:t>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3F80471-EC70-494F-B621-0154F91B69E5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gray">
          <a:xfrm>
            <a:off x="8770744" y="5854535"/>
            <a:ext cx="2880375" cy="601200"/>
          </a:xfrm>
          <a:blipFill>
            <a:blip r:embed="rId3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15BC915A-ADDF-414D-9D20-493116411A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-1" y="4002042"/>
            <a:ext cx="5040656" cy="0"/>
          </a:xfrm>
          <a:ln w="6350">
            <a:gradFill>
              <a:gsLst>
                <a:gs pos="0">
                  <a:schemeClr val="tx2">
                    <a:alpha val="0"/>
                  </a:schemeClr>
                </a:gs>
                <a:gs pos="100000">
                  <a:schemeClr val="tx2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extplatzhalter 37">
            <a:extLst>
              <a:ext uri="{FF2B5EF4-FFF2-40B4-BE49-F238E27FC236}">
                <a16:creationId xmlns:a16="http://schemas.microsoft.com/office/drawing/2014/main" id="{A2B1233F-76BC-4CA0-8DA7-B6B42E53A5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46171" y="4270580"/>
            <a:ext cx="4752619" cy="1368000"/>
          </a:xfrm>
        </p:spPr>
        <p:txBody>
          <a:bodyPr tIns="0"/>
          <a:lstStyle>
            <a:lvl1pPr marL="0" indent="0">
              <a:spcAft>
                <a:spcPts val="0"/>
              </a:spcAft>
              <a:buNone/>
              <a:defRPr sz="2800"/>
            </a:lvl1pPr>
          </a:lstStyle>
          <a:p>
            <a:pPr lvl="0"/>
            <a:r>
              <a:rPr lang="en-US"/>
              <a:t>Enter </a:t>
            </a:r>
            <a:r>
              <a:rPr lang="en-US" noProof="0"/>
              <a:t>your</a:t>
            </a:r>
            <a:r>
              <a:rPr lang="en-US"/>
              <a:t> </a:t>
            </a:r>
            <a:r>
              <a:rPr lang="en-US" noProof="0"/>
              <a:t>subtitle</a:t>
            </a:r>
            <a:r>
              <a:rPr lang="en-US"/>
              <a:t> </a:t>
            </a:r>
            <a:r>
              <a:rPr lang="en-US" noProof="0"/>
              <a:t>here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32D4E17A-AACC-4654-9760-0FE880B04C0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1" name="Hilfslinie">
              <a:extLst>
                <a:ext uri="{FF2B5EF4-FFF2-40B4-BE49-F238E27FC236}">
                  <a16:creationId xmlns:a16="http://schemas.microsoft.com/office/drawing/2014/main" id="{3129FBF5-8D6C-43AD-BDD0-C4FACDFD182B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6C551CFA-7E23-4175-BD1F-ADA1D5D45DC1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A9AF6D9B-7A6F-4310-80BC-EBE82E3292F3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99A7CBEA-102D-437C-9FF0-239C36778864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4F19C4D6-BDD8-42A7-BD23-B7F51F79727B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03C08478-9398-4724-B9AB-57217ADC5410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C9DEF23A-7983-41AF-8F16-419525EA5F9D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CB00FDD1-BD8B-48F5-B4B3-E5F6A8D9E602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DB7D4D9D-ED06-4960-85B4-113C6678C7F6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3133796C-ECCE-4DF7-9628-D089AA212403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96BEE480-2FE1-408D-87F6-AFE574D8AA35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648092AA-5BA5-41A6-BFA6-40F44970B88E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7A11729A-06F9-4801-AA08-595BD166A367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3B53A5C8-6D23-446A-9EDA-E0873A868444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9480C857-BF4D-498D-935B-91569EA45395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9DDD2A9-6778-4064-BA1A-695F3F2928D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2668296"/>
            <a:chOff x="12427519" y="121759"/>
            <a:chExt cx="2016001" cy="2668296"/>
          </a:xfrm>
        </p:grpSpPr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D3F0DA27-E814-4233-9F8E-DD6B6A9BB3E1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2250222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5F3481C8-B72B-4DDE-B4C5-E63433EFCCCD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25" name="Freihandform: Form 24">
                <a:extLst>
                  <a:ext uri="{FF2B5EF4-FFF2-40B4-BE49-F238E27FC236}">
                    <a16:creationId xmlns:a16="http://schemas.microsoft.com/office/drawing/2014/main" id="{D7161063-59EE-4D34-9B62-A781F08EBB9C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26" name="Gruppieren 25">
                <a:extLst>
                  <a:ext uri="{FF2B5EF4-FFF2-40B4-BE49-F238E27FC236}">
                    <a16:creationId xmlns:a16="http://schemas.microsoft.com/office/drawing/2014/main" id="{4BE33EF2-C38B-4B08-B39B-9E4244C8BFAD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27" name="Gerader Verbinder 26">
                  <a:extLst>
                    <a:ext uri="{FF2B5EF4-FFF2-40B4-BE49-F238E27FC236}">
                      <a16:creationId xmlns:a16="http://schemas.microsoft.com/office/drawing/2014/main" id="{369DD6DB-3C71-47F8-BDE1-CE7451863E2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28" name="Gerader Verbinder 27">
                  <a:extLst>
                    <a:ext uri="{FF2B5EF4-FFF2-40B4-BE49-F238E27FC236}">
                      <a16:creationId xmlns:a16="http://schemas.microsoft.com/office/drawing/2014/main" id="{B86C7ED7-B3C5-40E8-B668-5508ADF570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29" name="Gerader Verbinder 28">
                  <a:extLst>
                    <a:ext uri="{FF2B5EF4-FFF2-40B4-BE49-F238E27FC236}">
                      <a16:creationId xmlns:a16="http://schemas.microsoft.com/office/drawing/2014/main" id="{10CDEC7A-7674-4F6B-954E-DA09C510749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0" name="Gerader Verbinder 29">
                  <a:extLst>
                    <a:ext uri="{FF2B5EF4-FFF2-40B4-BE49-F238E27FC236}">
                      <a16:creationId xmlns:a16="http://schemas.microsoft.com/office/drawing/2014/main" id="{4071B8A6-CA80-4AFA-9DE2-6B54B8EAC3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B3A0AA03-92AF-4378-9008-57377694BF0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platzhalter 37">
            <a:extLst>
              <a:ext uri="{FF2B5EF4-FFF2-40B4-BE49-F238E27FC236}">
                <a16:creationId xmlns:a16="http://schemas.microsoft.com/office/drawing/2014/main" id="{0FA86050-0FEC-458D-8A62-BECA75FD9E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46171" y="5972380"/>
            <a:ext cx="4752619" cy="216000"/>
          </a:xfrm>
        </p:spPr>
        <p:txBody>
          <a:bodyPr tIns="0"/>
          <a:lstStyle>
            <a:lvl1pPr marL="0" indent="0">
              <a:spcAft>
                <a:spcPts val="0"/>
              </a:spcAft>
              <a:buNone/>
              <a:defRPr sz="16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7" name="Textplatzhalter 37">
            <a:extLst>
              <a:ext uri="{FF2B5EF4-FFF2-40B4-BE49-F238E27FC236}">
                <a16:creationId xmlns:a16="http://schemas.microsoft.com/office/drawing/2014/main" id="{74991F2B-C448-4076-B1C0-5A53FB6DEC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6171" y="6239735"/>
            <a:ext cx="4752619" cy="216000"/>
          </a:xfrm>
        </p:spPr>
        <p:txBody>
          <a:bodyPr tIns="0"/>
          <a:lstStyle>
            <a:lvl1pPr marL="0" indent="0">
              <a:spcAft>
                <a:spcPts val="0"/>
              </a:spcAft>
              <a:buNone/>
              <a:defRPr sz="16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Name of the Speaker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1401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0" fill="hold"/>
                                        <p:tgtEl>
                                          <p:spTgt spid="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4.53314E-6 -0.03403 L -4.53314E-6 0.00023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13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4.53314E-6 -0.03403 L -4.53314E-6 0.00023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13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4.53314E-6 -0.03403 L -4.53314E-6 0.00023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1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1500"/>
                  </p:stCondLst>
                  <p:childTnLst>
                    <p:animMotion origin="layout" path="M -4.53314E-6 -0.03403 L -4.53314E-6 0.00023 " pathEditMode="relative" rAng="0" ptsTypes="AA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13"/>
                    </p:animMotion>
                  </p:childTnLst>
                </p:cTn>
              </p:par>
            </p:tnLst>
          </p:tmpl>
        </p:tmplLst>
      </p:bldP>
      <p:bldP spid="36" grpId="0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1500"/>
                  </p:stCondLst>
                  <p:childTnLst>
                    <p:animMotion origin="layout" path="M -4.53314E-6 -0.03403 L -4.53314E-6 0.00023 " pathEditMode="relative" rAng="0" ptsTypes="AA">
                      <p:cBhvr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13"/>
                    </p:animMotion>
                  </p:childTnLst>
                </p:cTn>
              </p:par>
            </p:tnLst>
          </p:tmpl>
        </p:tmplLst>
      </p:bldP>
      <p:bldP spid="37" grpId="0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1500"/>
                  </p:stCondLst>
                  <p:childTnLst>
                    <p:animMotion origin="layout" path="M -4.53314E-6 -0.03403 L -4.53314E-6 0.00023 " pathEditMode="relative" rAng="0" ptsTypes="AA">
                      <p:cBhvr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13"/>
                    </p:animMotion>
                  </p:childTnLst>
                </p:cTn>
              </p:par>
            </p:tnLst>
          </p:tmpl>
        </p:tmplLst>
      </p:bldP>
    </p:bld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5FE92CE-6B60-4670-AF11-6067D062C2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114C7F-44FA-4C88-AAF9-50D7A1F90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0BCCC222-1E59-4577-99FE-0441D89A60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41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540881" y="2078917"/>
            <a:ext cx="11109710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F30BE3B9-801F-4564-BCD8-84D5EBEB72B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05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Inhalt">
            <a:extLst>
              <a:ext uri="{FF2B5EF4-FFF2-40B4-BE49-F238E27FC236}">
                <a16:creationId xmlns:a16="http://schemas.microsoft.com/office/drawing/2014/main" id="{31F8A50F-DA32-40C4-9D7E-EDE88E6A24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40882" y="2078917"/>
            <a:ext cx="5285082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3" name="Inhalt">
            <a:extLst>
              <a:ext uri="{FF2B5EF4-FFF2-40B4-BE49-F238E27FC236}">
                <a16:creationId xmlns:a16="http://schemas.microsoft.com/office/drawing/2014/main" id="{E7EC16D7-CC7E-496D-BCC0-9390B0C097DF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6365509" y="2078917"/>
            <a:ext cx="5285082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9161E4CE-1387-4E77-AC9E-272715B2444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52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8" name="Inhalt">
            <a:extLst>
              <a:ext uri="{FF2B5EF4-FFF2-40B4-BE49-F238E27FC236}">
                <a16:creationId xmlns:a16="http://schemas.microsoft.com/office/drawing/2014/main" id="{3138BD20-D743-4602-8B5B-37D40A52AAED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40882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accent6"/>
                </a:solidFill>
              </a:defRPr>
            </a:lvl1pPr>
            <a:lvl2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9" name="Inhalt">
            <a:extLst>
              <a:ext uri="{FF2B5EF4-FFF2-40B4-BE49-F238E27FC236}">
                <a16:creationId xmlns:a16="http://schemas.microsoft.com/office/drawing/2014/main" id="{5E394C9B-107C-4698-A7C8-FECD3CA13AFB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4424189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accent6"/>
                </a:solidFill>
              </a:defRPr>
            </a:lvl1pPr>
            <a:lvl2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0" name="Inhalt">
            <a:extLst>
              <a:ext uri="{FF2B5EF4-FFF2-40B4-BE49-F238E27FC236}">
                <a16:creationId xmlns:a16="http://schemas.microsoft.com/office/drawing/2014/main" id="{6D18B4F8-C59A-451A-B6D9-B6846EDAFD90}"/>
              </a:ext>
            </a:extLst>
          </p:cNvPr>
          <p:cNvSpPr>
            <a:spLocks noGrp="1"/>
          </p:cNvSpPr>
          <p:nvPr>
            <p:ph idx="20" hasCustomPrompt="1"/>
          </p:nvPr>
        </p:nvSpPr>
        <p:spPr bwMode="gray">
          <a:xfrm>
            <a:off x="8307495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accent6"/>
                </a:solidFill>
              </a:defRPr>
            </a:lvl1pPr>
            <a:lvl2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2pPr>
            <a:lvl3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3pPr>
            <a:lvl4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4pPr>
            <a:lvl5pPr>
              <a:buClr>
                <a:schemeClr val="accent6"/>
              </a:buClr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59B79F51-FCB8-442A-AE90-81C4F99C835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58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x Right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FC3E2BE7-F332-4695-A3E6-F7B7B924C5A4}"/>
              </a:ext>
            </a:extLst>
          </p:cNvPr>
          <p:cNvSpPr/>
          <p:nvPr userDrawn="1"/>
        </p:nvSpPr>
        <p:spPr bwMode="gray">
          <a:xfrm>
            <a:off x="8307093" y="0"/>
            <a:ext cx="3884906" cy="6858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884" y="441625"/>
            <a:ext cx="7224802" cy="432000"/>
          </a:xfrm>
        </p:spPr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7" name="Inhalt">
            <a:extLst>
              <a:ext uri="{FF2B5EF4-FFF2-40B4-BE49-F238E27FC236}">
                <a16:creationId xmlns:a16="http://schemas.microsoft.com/office/drawing/2014/main" id="{31F8A50F-DA32-40C4-9D7E-EDE88E6A24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40883" y="2078917"/>
            <a:ext cx="7224802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3" name="Inhalt">
            <a:extLst>
              <a:ext uri="{FF2B5EF4-FFF2-40B4-BE49-F238E27FC236}">
                <a16:creationId xmlns:a16="http://schemas.microsoft.com/office/drawing/2014/main" id="{94528FBE-C1D7-4413-9043-FEFE7F9A4309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8573031" y="2078917"/>
            <a:ext cx="3077561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1A6212DC-82AE-4FD1-8663-AA307DB0E4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7227072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8D0F1E31-BBEE-49EF-BB4D-821607B108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573031" y="2078917"/>
            <a:ext cx="3078401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7" name="Grafik 4">
            <a:extLst>
              <a:ext uri="{FF2B5EF4-FFF2-40B4-BE49-F238E27FC236}">
                <a16:creationId xmlns:a16="http://schemas.microsoft.com/office/drawing/2014/main" id="{78221AC6-3EAC-451D-B6C7-A69FC45C8296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459B9FC6-31EC-4152-A9DB-221C491B857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14" name="Hilfslinie">
              <a:extLst>
                <a:ext uri="{FF2B5EF4-FFF2-40B4-BE49-F238E27FC236}">
                  <a16:creationId xmlns:a16="http://schemas.microsoft.com/office/drawing/2014/main" id="{EF74AE34-866A-4435-9F35-F8C1D42EA1A9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30" name="Line">
                <a:extLst>
                  <a:ext uri="{FF2B5EF4-FFF2-40B4-BE49-F238E27FC236}">
                    <a16:creationId xmlns:a16="http://schemas.microsoft.com/office/drawing/2014/main" id="{3A31D8C0-A9C8-4CFF-9C55-87876C1AD5EB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">
                <a:extLst>
                  <a:ext uri="{FF2B5EF4-FFF2-40B4-BE49-F238E27FC236}">
                    <a16:creationId xmlns:a16="http://schemas.microsoft.com/office/drawing/2014/main" id="{FDFECEFC-1665-46C2-8135-B96F66FF9DB8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18" name="Hilfslinie">
              <a:extLst>
                <a:ext uri="{FF2B5EF4-FFF2-40B4-BE49-F238E27FC236}">
                  <a16:creationId xmlns:a16="http://schemas.microsoft.com/office/drawing/2014/main" id="{2997B6CB-7868-44DB-8DC7-A4947FB4A9F6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8" name="Line">
                <a:extLst>
                  <a:ext uri="{FF2B5EF4-FFF2-40B4-BE49-F238E27FC236}">
                    <a16:creationId xmlns:a16="http://schemas.microsoft.com/office/drawing/2014/main" id="{8A4DCA2C-D7DA-4F42-998B-C67BDE03AAF1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">
                <a:extLst>
                  <a:ext uri="{FF2B5EF4-FFF2-40B4-BE49-F238E27FC236}">
                    <a16:creationId xmlns:a16="http://schemas.microsoft.com/office/drawing/2014/main" id="{3FB834A9-95D4-4059-88F3-952771CBC19D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19" name="Hilfslinie">
              <a:extLst>
                <a:ext uri="{FF2B5EF4-FFF2-40B4-BE49-F238E27FC236}">
                  <a16:creationId xmlns:a16="http://schemas.microsoft.com/office/drawing/2014/main" id="{784B798F-E554-4A11-A8CD-AFCF0BEBE1B9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6" name="Line">
                <a:extLst>
                  <a:ext uri="{FF2B5EF4-FFF2-40B4-BE49-F238E27FC236}">
                    <a16:creationId xmlns:a16="http://schemas.microsoft.com/office/drawing/2014/main" id="{B1B3B506-7DB5-47A6-B156-084AF581ED3D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">
                <a:extLst>
                  <a:ext uri="{FF2B5EF4-FFF2-40B4-BE49-F238E27FC236}">
                    <a16:creationId xmlns:a16="http://schemas.microsoft.com/office/drawing/2014/main" id="{2DE6AB48-E329-413C-8D27-5D25121B484D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20" name="Hilfslinie">
              <a:extLst>
                <a:ext uri="{FF2B5EF4-FFF2-40B4-BE49-F238E27FC236}">
                  <a16:creationId xmlns:a16="http://schemas.microsoft.com/office/drawing/2014/main" id="{F063F57A-7CEE-4E1D-A793-B5166AA9291E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24" name="Line">
                <a:extLst>
                  <a:ext uri="{FF2B5EF4-FFF2-40B4-BE49-F238E27FC236}">
                    <a16:creationId xmlns:a16="http://schemas.microsoft.com/office/drawing/2014/main" id="{73FAAA59-B679-4996-BF0B-EE3A0FA9F387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>
                <a:extLst>
                  <a:ext uri="{FF2B5EF4-FFF2-40B4-BE49-F238E27FC236}">
                    <a16:creationId xmlns:a16="http://schemas.microsoft.com/office/drawing/2014/main" id="{46EB3296-5E08-4756-9990-D8966C91C37D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21" name="Hilfslinie">
              <a:extLst>
                <a:ext uri="{FF2B5EF4-FFF2-40B4-BE49-F238E27FC236}">
                  <a16:creationId xmlns:a16="http://schemas.microsoft.com/office/drawing/2014/main" id="{B2300B00-F034-45F1-B6D8-B3E213655FE0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22" name="Line">
                <a:extLst>
                  <a:ext uri="{FF2B5EF4-FFF2-40B4-BE49-F238E27FC236}">
                    <a16:creationId xmlns:a16="http://schemas.microsoft.com/office/drawing/2014/main" id="{F8C4B9B6-6932-48CA-A24B-B2F1828FF0CE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>
                <a:extLst>
                  <a:ext uri="{FF2B5EF4-FFF2-40B4-BE49-F238E27FC236}">
                    <a16:creationId xmlns:a16="http://schemas.microsoft.com/office/drawing/2014/main" id="{DD3E2792-B2D3-49C1-BA2B-169A11550DF4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D04AFBE-EE0B-484A-B942-EF7800432BC4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B5B254B7-422B-410E-A07F-9CC0BA6E925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71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FC3E2BE7-F332-4695-A3E6-F7B7B924C5A4}"/>
              </a:ext>
            </a:extLst>
          </p:cNvPr>
          <p:cNvSpPr/>
          <p:nvPr userDrawn="1"/>
        </p:nvSpPr>
        <p:spPr bwMode="gray">
          <a:xfrm>
            <a:off x="0" y="0"/>
            <a:ext cx="3884906" cy="6858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881" y="441625"/>
            <a:ext cx="3077561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7" name="Inhalt">
            <a:extLst>
              <a:ext uri="{FF2B5EF4-FFF2-40B4-BE49-F238E27FC236}">
                <a16:creationId xmlns:a16="http://schemas.microsoft.com/office/drawing/2014/main" id="{31F8A50F-DA32-40C4-9D7E-EDE88E6A241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4425789" y="2078917"/>
            <a:ext cx="7224802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3" name="Inhalt">
            <a:extLst>
              <a:ext uri="{FF2B5EF4-FFF2-40B4-BE49-F238E27FC236}">
                <a16:creationId xmlns:a16="http://schemas.microsoft.com/office/drawing/2014/main" id="{94528FBE-C1D7-4413-9043-FEFE7F9A4309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540881" y="2078917"/>
            <a:ext cx="3077561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1A6212DC-82AE-4FD1-8663-AA307DB0E4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3078528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E7DC0A86-8735-4BC2-8098-08C34DC7064A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21DCCB3A-4DBA-4FC8-B2E0-FCBFEEA31269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ED927067-08C6-4CD6-9620-DBC5108545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881" y="2078917"/>
            <a:ext cx="3078401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89C28B2E-D493-4030-AF30-5A0EB7E8443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3078072" cy="107999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80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AB73B8ED-9CF6-44D8-9F9F-E6C298D024E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8308024" y="0"/>
            <a:ext cx="3883977" cy="6858000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8B4A9EA-989C-443C-AD0C-7059C0722541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8308024" y="5418000"/>
            <a:ext cx="3883977" cy="1440000"/>
          </a:xfrm>
          <a:gradFill>
            <a:gsLst>
              <a:gs pos="75000">
                <a:schemeClr val="tx2">
                  <a:alpha val="70000"/>
                </a:schemeClr>
              </a:gs>
              <a:gs pos="0">
                <a:schemeClr val="accent6">
                  <a:alpha val="0"/>
                </a:schemeClr>
              </a:gs>
            </a:gsLst>
            <a:lin ang="5400000" scaled="0"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540882" y="2078917"/>
            <a:ext cx="3343095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883" y="441625"/>
            <a:ext cx="7227071" cy="432000"/>
          </a:xfrm>
        </p:spPr>
        <p:txBody>
          <a:bodyPr rIns="0"/>
          <a:lstStyle/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7227072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5" name="Inhalt">
            <a:extLst>
              <a:ext uri="{FF2B5EF4-FFF2-40B4-BE49-F238E27FC236}">
                <a16:creationId xmlns:a16="http://schemas.microsoft.com/office/drawing/2014/main" id="{67C2503C-D9C6-4D1F-A52A-B5D067FAA9A3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gray">
          <a:xfrm>
            <a:off x="4424858" y="2078917"/>
            <a:ext cx="3343095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F0D72E5A-CAFD-4DC2-8613-0D7B388D544F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gray">
          <a:xfrm>
            <a:off x="10751002" y="6450741"/>
            <a:ext cx="900117" cy="187875"/>
          </a:xfrm>
          <a:blipFill>
            <a:blip r:embed="rId2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57783125-A4C9-48D7-B3AF-4F665993C1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14" name="Hilfslinie">
              <a:extLst>
                <a:ext uri="{FF2B5EF4-FFF2-40B4-BE49-F238E27FC236}">
                  <a16:creationId xmlns:a16="http://schemas.microsoft.com/office/drawing/2014/main" id="{9A51B74C-3C74-483A-9089-515AAE39F90F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30" name="Line">
                <a:extLst>
                  <a:ext uri="{FF2B5EF4-FFF2-40B4-BE49-F238E27FC236}">
                    <a16:creationId xmlns:a16="http://schemas.microsoft.com/office/drawing/2014/main" id="{7C307743-B059-4D79-B001-D138E2440EAC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Text">
                <a:extLst>
                  <a:ext uri="{FF2B5EF4-FFF2-40B4-BE49-F238E27FC236}">
                    <a16:creationId xmlns:a16="http://schemas.microsoft.com/office/drawing/2014/main" id="{8BC4D5D0-3B2D-4A0D-B46D-922D765B8EB3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16" name="Hilfslinie">
              <a:extLst>
                <a:ext uri="{FF2B5EF4-FFF2-40B4-BE49-F238E27FC236}">
                  <a16:creationId xmlns:a16="http://schemas.microsoft.com/office/drawing/2014/main" id="{BB69B702-A937-4BC3-BB03-B008F9AE9299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8" name="Line">
                <a:extLst>
                  <a:ext uri="{FF2B5EF4-FFF2-40B4-BE49-F238E27FC236}">
                    <a16:creationId xmlns:a16="http://schemas.microsoft.com/office/drawing/2014/main" id="{63D589C5-036D-407F-A9A3-6A4491C96BF6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">
                <a:extLst>
                  <a:ext uri="{FF2B5EF4-FFF2-40B4-BE49-F238E27FC236}">
                    <a16:creationId xmlns:a16="http://schemas.microsoft.com/office/drawing/2014/main" id="{DE18924B-89F3-4189-9ECF-C86CB073719C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17" name="Hilfslinie">
              <a:extLst>
                <a:ext uri="{FF2B5EF4-FFF2-40B4-BE49-F238E27FC236}">
                  <a16:creationId xmlns:a16="http://schemas.microsoft.com/office/drawing/2014/main" id="{ACD593CE-63D5-42EA-96D6-7FF406EDD14D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6" name="Line">
                <a:extLst>
                  <a:ext uri="{FF2B5EF4-FFF2-40B4-BE49-F238E27FC236}">
                    <a16:creationId xmlns:a16="http://schemas.microsoft.com/office/drawing/2014/main" id="{194B7770-D5F8-46CD-8032-26AD9806A0F4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">
                <a:extLst>
                  <a:ext uri="{FF2B5EF4-FFF2-40B4-BE49-F238E27FC236}">
                    <a16:creationId xmlns:a16="http://schemas.microsoft.com/office/drawing/2014/main" id="{7F4810B6-8064-4B5F-B6F3-DF6198FCA460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20" name="Hilfslinie">
              <a:extLst>
                <a:ext uri="{FF2B5EF4-FFF2-40B4-BE49-F238E27FC236}">
                  <a16:creationId xmlns:a16="http://schemas.microsoft.com/office/drawing/2014/main" id="{122041EA-583B-4CCB-8AEB-D360F4020A78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24" name="Line">
                <a:extLst>
                  <a:ext uri="{FF2B5EF4-FFF2-40B4-BE49-F238E27FC236}">
                    <a16:creationId xmlns:a16="http://schemas.microsoft.com/office/drawing/2014/main" id="{87157EFC-976B-49F6-905B-800A6E1A9FF6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>
                <a:extLst>
                  <a:ext uri="{FF2B5EF4-FFF2-40B4-BE49-F238E27FC236}">
                    <a16:creationId xmlns:a16="http://schemas.microsoft.com/office/drawing/2014/main" id="{12FD2263-6302-4E0D-9E20-D7343BDDCA39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21" name="Hilfslinie">
              <a:extLst>
                <a:ext uri="{FF2B5EF4-FFF2-40B4-BE49-F238E27FC236}">
                  <a16:creationId xmlns:a16="http://schemas.microsoft.com/office/drawing/2014/main" id="{A06D3DC8-546A-4309-80FD-707200EFCF98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22" name="Line">
                <a:extLst>
                  <a:ext uri="{FF2B5EF4-FFF2-40B4-BE49-F238E27FC236}">
                    <a16:creationId xmlns:a16="http://schemas.microsoft.com/office/drawing/2014/main" id="{DCDD22D3-C921-4761-9517-21CD7B69935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>
                <a:extLst>
                  <a:ext uri="{FF2B5EF4-FFF2-40B4-BE49-F238E27FC236}">
                    <a16:creationId xmlns:a16="http://schemas.microsoft.com/office/drawing/2014/main" id="{DF4BD586-7E7A-47D5-9A27-4A6BEF610191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AE6755E-DEB2-4B5C-A0CD-2B4EF7635CAF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uppieren 1">
            <a:extLst>
              <a:ext uri="{FF2B5EF4-FFF2-40B4-BE49-F238E27FC236}">
                <a16:creationId xmlns:a16="http://schemas.microsoft.com/office/drawing/2014/main" id="{89CA7794-1504-42B2-982B-AA429CFDCD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2668296"/>
            <a:chOff x="12427519" y="121759"/>
            <a:chExt cx="2016001" cy="2668296"/>
          </a:xfrm>
        </p:grpSpPr>
        <p:sp>
          <p:nvSpPr>
            <p:cNvPr id="34" name="Textfeld 22">
              <a:extLst>
                <a:ext uri="{FF2B5EF4-FFF2-40B4-BE49-F238E27FC236}">
                  <a16:creationId xmlns:a16="http://schemas.microsoft.com/office/drawing/2014/main" id="{C7A1707D-9BD9-44BE-96F6-9AAAC2ED6DC3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2250222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35" name="Gruppieren 23">
              <a:extLst>
                <a:ext uri="{FF2B5EF4-FFF2-40B4-BE49-F238E27FC236}">
                  <a16:creationId xmlns:a16="http://schemas.microsoft.com/office/drawing/2014/main" id="{FC6F1E2E-A2FB-4D25-A474-AE361F09231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37" name="Freihandform: Form 24">
                <a:extLst>
                  <a:ext uri="{FF2B5EF4-FFF2-40B4-BE49-F238E27FC236}">
                    <a16:creationId xmlns:a16="http://schemas.microsoft.com/office/drawing/2014/main" id="{A8BA99DD-917C-48C7-913B-CE49A6B92F39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38" name="Gruppieren 25">
                <a:extLst>
                  <a:ext uri="{FF2B5EF4-FFF2-40B4-BE49-F238E27FC236}">
                    <a16:creationId xmlns:a16="http://schemas.microsoft.com/office/drawing/2014/main" id="{94FAECC6-E9C8-4D68-BA67-5C47EDDE5051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39" name="Gerader Verbinder 26">
                  <a:extLst>
                    <a:ext uri="{FF2B5EF4-FFF2-40B4-BE49-F238E27FC236}">
                      <a16:creationId xmlns:a16="http://schemas.microsoft.com/office/drawing/2014/main" id="{CA3DE8F1-A5DC-46A1-9046-D80FB3BE9A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0" name="Gerader Verbinder 27">
                  <a:extLst>
                    <a:ext uri="{FF2B5EF4-FFF2-40B4-BE49-F238E27FC236}">
                      <a16:creationId xmlns:a16="http://schemas.microsoft.com/office/drawing/2014/main" id="{F99B2A87-BA14-41BA-BAA8-C327DBAD118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1" name="Gerader Verbinder 28">
                  <a:extLst>
                    <a:ext uri="{FF2B5EF4-FFF2-40B4-BE49-F238E27FC236}">
                      <a16:creationId xmlns:a16="http://schemas.microsoft.com/office/drawing/2014/main" id="{47B30F9C-7312-4771-AE95-5F4155DFF8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2" name="Gerader Verbinder 29">
                  <a:extLst>
                    <a:ext uri="{FF2B5EF4-FFF2-40B4-BE49-F238E27FC236}">
                      <a16:creationId xmlns:a16="http://schemas.microsoft.com/office/drawing/2014/main" id="{CDF22998-4009-4408-9E86-1D79936D853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36" name="Gerader Verbinder 31">
              <a:extLst>
                <a:ext uri="{FF2B5EF4-FFF2-40B4-BE49-F238E27FC236}">
                  <a16:creationId xmlns:a16="http://schemas.microsoft.com/office/drawing/2014/main" id="{CB432EEE-6A36-4AFA-93C8-6B49790ADD5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57605559-9A82-49DA-B867-14B764D5162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76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AB73B8ED-9CF6-44D8-9F9F-E6C298D024EE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6383291" y="0"/>
            <a:ext cx="5808709" cy="6858000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48B4A9EA-989C-443C-AD0C-7059C0722541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6383291" y="5418000"/>
            <a:ext cx="5808709" cy="1440000"/>
          </a:xfrm>
          <a:gradFill>
            <a:gsLst>
              <a:gs pos="75000">
                <a:schemeClr val="tx2">
                  <a:alpha val="70000"/>
                </a:schemeClr>
              </a:gs>
              <a:gs pos="0">
                <a:schemeClr val="accent6">
                  <a:alpha val="0"/>
                </a:schemeClr>
              </a:gs>
            </a:gsLst>
            <a:lin ang="5400000" scaled="0"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884" y="441625"/>
            <a:ext cx="5285081" cy="432000"/>
          </a:xfrm>
        </p:spPr>
        <p:txBody>
          <a:bodyPr rIns="0"/>
          <a:lstStyle/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5285083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F0D72E5A-CAFD-4DC2-8613-0D7B388D544F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gray">
          <a:xfrm>
            <a:off x="10751002" y="6450741"/>
            <a:ext cx="900117" cy="187875"/>
          </a:xfrm>
          <a:blipFill>
            <a:blip r:embed="rId2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12" name="Inhalt">
            <a:extLst>
              <a:ext uri="{FF2B5EF4-FFF2-40B4-BE49-F238E27FC236}">
                <a16:creationId xmlns:a16="http://schemas.microsoft.com/office/drawing/2014/main" id="{C8AC8E04-8B4A-45F8-9876-2DF3559A5581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40882" y="2078917"/>
            <a:ext cx="5285082" cy="4140000"/>
          </a:xfrm>
        </p:spPr>
        <p:txBody>
          <a:bodyPr tIns="108000"/>
          <a:lstStyle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1B31D568-CC6B-40BE-B8C8-5C19E524BC1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14" name="Hilfslinie">
              <a:extLst>
                <a:ext uri="{FF2B5EF4-FFF2-40B4-BE49-F238E27FC236}">
                  <a16:creationId xmlns:a16="http://schemas.microsoft.com/office/drawing/2014/main" id="{A5DDD2AE-1CD9-428D-BAC8-35807B131717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29" name="Line">
                <a:extLst>
                  <a:ext uri="{FF2B5EF4-FFF2-40B4-BE49-F238E27FC236}">
                    <a16:creationId xmlns:a16="http://schemas.microsoft.com/office/drawing/2014/main" id="{31413FA6-B157-442E-96A7-7A40915A882F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">
                <a:extLst>
                  <a:ext uri="{FF2B5EF4-FFF2-40B4-BE49-F238E27FC236}">
                    <a16:creationId xmlns:a16="http://schemas.microsoft.com/office/drawing/2014/main" id="{7102636E-357F-4BE4-8E96-1126676999A3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15" name="Hilfslinie">
              <a:extLst>
                <a:ext uri="{FF2B5EF4-FFF2-40B4-BE49-F238E27FC236}">
                  <a16:creationId xmlns:a16="http://schemas.microsoft.com/office/drawing/2014/main" id="{5FA2E9C4-3C28-4D60-AE27-C169C4790B09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7" name="Line">
                <a:extLst>
                  <a:ext uri="{FF2B5EF4-FFF2-40B4-BE49-F238E27FC236}">
                    <a16:creationId xmlns:a16="http://schemas.microsoft.com/office/drawing/2014/main" id="{542F0CE3-E851-424A-A10E-2206872F3C48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">
                <a:extLst>
                  <a:ext uri="{FF2B5EF4-FFF2-40B4-BE49-F238E27FC236}">
                    <a16:creationId xmlns:a16="http://schemas.microsoft.com/office/drawing/2014/main" id="{9B3BE1ED-9839-47DC-AB66-1210A11E76AA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16" name="Hilfslinie">
              <a:extLst>
                <a:ext uri="{FF2B5EF4-FFF2-40B4-BE49-F238E27FC236}">
                  <a16:creationId xmlns:a16="http://schemas.microsoft.com/office/drawing/2014/main" id="{2A042525-4DF2-43BF-BA3E-8C60F5205A5F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5" name="Line">
                <a:extLst>
                  <a:ext uri="{FF2B5EF4-FFF2-40B4-BE49-F238E27FC236}">
                    <a16:creationId xmlns:a16="http://schemas.microsoft.com/office/drawing/2014/main" id="{920703D3-6C9D-49E3-8D71-7D30C7EA4D76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">
                <a:extLst>
                  <a:ext uri="{FF2B5EF4-FFF2-40B4-BE49-F238E27FC236}">
                    <a16:creationId xmlns:a16="http://schemas.microsoft.com/office/drawing/2014/main" id="{77E0BA71-9CD3-43D4-9506-0AB95DA1F029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17" name="Hilfslinie">
              <a:extLst>
                <a:ext uri="{FF2B5EF4-FFF2-40B4-BE49-F238E27FC236}">
                  <a16:creationId xmlns:a16="http://schemas.microsoft.com/office/drawing/2014/main" id="{1C79C5FD-AC86-446F-AA86-B147C5F50392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23" name="Line">
                <a:extLst>
                  <a:ext uri="{FF2B5EF4-FFF2-40B4-BE49-F238E27FC236}">
                    <a16:creationId xmlns:a16="http://schemas.microsoft.com/office/drawing/2014/main" id="{E6F91554-805A-4611-9634-E2474BEC4EEE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">
                <a:extLst>
                  <a:ext uri="{FF2B5EF4-FFF2-40B4-BE49-F238E27FC236}">
                    <a16:creationId xmlns:a16="http://schemas.microsoft.com/office/drawing/2014/main" id="{554C2A9E-1CEC-4C7E-8465-69716BCCE4A8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20" name="Hilfslinie">
              <a:extLst>
                <a:ext uri="{FF2B5EF4-FFF2-40B4-BE49-F238E27FC236}">
                  <a16:creationId xmlns:a16="http://schemas.microsoft.com/office/drawing/2014/main" id="{6A19B86A-5028-4D39-841E-4173B9F22A7E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21" name="Line">
                <a:extLst>
                  <a:ext uri="{FF2B5EF4-FFF2-40B4-BE49-F238E27FC236}">
                    <a16:creationId xmlns:a16="http://schemas.microsoft.com/office/drawing/2014/main" id="{813EED20-AD81-408D-AB06-42FB31653820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">
                <a:extLst>
                  <a:ext uri="{FF2B5EF4-FFF2-40B4-BE49-F238E27FC236}">
                    <a16:creationId xmlns:a16="http://schemas.microsoft.com/office/drawing/2014/main" id="{926DA69B-0BB7-4389-945E-1F6D8F84EF15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0B822223-66AD-4839-9CBB-E28396C0F1C3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uppieren 1">
            <a:extLst>
              <a:ext uri="{FF2B5EF4-FFF2-40B4-BE49-F238E27FC236}">
                <a16:creationId xmlns:a16="http://schemas.microsoft.com/office/drawing/2014/main" id="{1456DBB0-A319-4B5E-B79D-BECADBFD02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2668296"/>
            <a:chOff x="12427519" y="121759"/>
            <a:chExt cx="2016001" cy="2668296"/>
          </a:xfrm>
        </p:grpSpPr>
        <p:sp>
          <p:nvSpPr>
            <p:cNvPr id="33" name="Textfeld 22">
              <a:extLst>
                <a:ext uri="{FF2B5EF4-FFF2-40B4-BE49-F238E27FC236}">
                  <a16:creationId xmlns:a16="http://schemas.microsoft.com/office/drawing/2014/main" id="{F5B03658-2A5D-4244-A804-05960C06D102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2250222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34" name="Gruppieren 23">
              <a:extLst>
                <a:ext uri="{FF2B5EF4-FFF2-40B4-BE49-F238E27FC236}">
                  <a16:creationId xmlns:a16="http://schemas.microsoft.com/office/drawing/2014/main" id="{F3326BC6-0730-4C05-BB65-E5352BC91D9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36" name="Freihandform: Form 24">
                <a:extLst>
                  <a:ext uri="{FF2B5EF4-FFF2-40B4-BE49-F238E27FC236}">
                    <a16:creationId xmlns:a16="http://schemas.microsoft.com/office/drawing/2014/main" id="{894677FD-BF6C-421B-949E-4FAA15F18E68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37" name="Gruppieren 25">
                <a:extLst>
                  <a:ext uri="{FF2B5EF4-FFF2-40B4-BE49-F238E27FC236}">
                    <a16:creationId xmlns:a16="http://schemas.microsoft.com/office/drawing/2014/main" id="{7506DA1D-474D-459E-BC77-860695F58551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38" name="Gerader Verbinder 26">
                  <a:extLst>
                    <a:ext uri="{FF2B5EF4-FFF2-40B4-BE49-F238E27FC236}">
                      <a16:creationId xmlns:a16="http://schemas.microsoft.com/office/drawing/2014/main" id="{E6AFE211-BC20-4A3A-A726-8B1E985B12D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9" name="Gerader Verbinder 27">
                  <a:extLst>
                    <a:ext uri="{FF2B5EF4-FFF2-40B4-BE49-F238E27FC236}">
                      <a16:creationId xmlns:a16="http://schemas.microsoft.com/office/drawing/2014/main" id="{275DCDFA-3D41-42BF-83CE-31B512669C5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0" name="Gerader Verbinder 28">
                  <a:extLst>
                    <a:ext uri="{FF2B5EF4-FFF2-40B4-BE49-F238E27FC236}">
                      <a16:creationId xmlns:a16="http://schemas.microsoft.com/office/drawing/2014/main" id="{FFECBFCA-8899-433A-8D46-D8431C173A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1" name="Gerader Verbinder 29">
                  <a:extLst>
                    <a:ext uri="{FF2B5EF4-FFF2-40B4-BE49-F238E27FC236}">
                      <a16:creationId xmlns:a16="http://schemas.microsoft.com/office/drawing/2014/main" id="{1AC6A67E-C7DA-4AE4-9E51-4451177CCF3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35" name="Gerader Verbinder 31">
              <a:extLst>
                <a:ext uri="{FF2B5EF4-FFF2-40B4-BE49-F238E27FC236}">
                  <a16:creationId xmlns:a16="http://schemas.microsoft.com/office/drawing/2014/main" id="{27167479-9EF8-417F-BF9D-DB556434070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55553169-8514-4400-9CAB-003A6B85C74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89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Circl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6444CC-51A9-4BFE-9ADE-38643B0C9F9C}"/>
              </a:ext>
            </a:extLst>
          </p:cNvPr>
          <p:cNvSpPr/>
          <p:nvPr userDrawn="1"/>
        </p:nvSpPr>
        <p:spPr bwMode="ltGray">
          <a:xfrm>
            <a:off x="1" y="0"/>
            <a:ext cx="12192000" cy="3429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5FE92CE-6B60-4670-AF11-6067D062C2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114C7F-44FA-4C88-AAF9-50D7A1F90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40883" y="441625"/>
            <a:ext cx="1111023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9761A137-EA83-4481-8C2E-4983C12BD51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952129" y="2069474"/>
            <a:ext cx="2520328" cy="2520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55289EBB-CD34-44B3-B3B2-2E96FD3EFB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540882" y="4850917"/>
            <a:ext cx="3343095" cy="1368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F3416E4D-51A6-4E89-A197-2A6637A1506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ltGray">
          <a:xfrm>
            <a:off x="4424452" y="4850917"/>
            <a:ext cx="3343095" cy="1368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775C3F2B-D0B4-4ED6-A9F0-3040F03DC8D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ltGray">
          <a:xfrm>
            <a:off x="8308023" y="4850917"/>
            <a:ext cx="3343095" cy="1368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6D15D246-2D72-4B01-A0D2-19AE1ED92631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 bwMode="ltGray">
          <a:xfrm>
            <a:off x="4835835" y="2069474"/>
            <a:ext cx="2520328" cy="2520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2" name="Bildplatzhalter 5">
            <a:extLst>
              <a:ext uri="{FF2B5EF4-FFF2-40B4-BE49-F238E27FC236}">
                <a16:creationId xmlns:a16="http://schemas.microsoft.com/office/drawing/2014/main" id="{6B47CDFE-72A3-4E34-816D-179691579FA3}"/>
              </a:ext>
            </a:extLst>
          </p:cNvPr>
          <p:cNvSpPr>
            <a:spLocks noGrp="1" noChangeAspect="1"/>
          </p:cNvSpPr>
          <p:nvPr>
            <p:ph type="pic" sz="quarter" idx="25"/>
          </p:nvPr>
        </p:nvSpPr>
        <p:spPr bwMode="ltGray">
          <a:xfrm>
            <a:off x="8719406" y="2069474"/>
            <a:ext cx="2520328" cy="2520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89C35145-68F1-4749-B49C-663FB0FAAEE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67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Circl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6444CC-51A9-4BFE-9ADE-38643B0C9F9C}"/>
              </a:ext>
            </a:extLst>
          </p:cNvPr>
          <p:cNvSpPr/>
          <p:nvPr userDrawn="1"/>
        </p:nvSpPr>
        <p:spPr bwMode="ltGray">
          <a:xfrm>
            <a:off x="1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rgbClr val="097BF4"/>
              </a:gs>
              <a:gs pos="100000">
                <a:srgbClr val="25D3F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5FE92CE-6B60-4670-AF11-6067D062C2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114C7F-44FA-4C88-AAF9-50D7A1F90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40883" y="441625"/>
            <a:ext cx="1111023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9761A137-EA83-4481-8C2E-4983C12BD51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646791" y="2069474"/>
            <a:ext cx="2160281" cy="2160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55289EBB-CD34-44B3-B3B2-2E96FD3EFB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540883" y="4598917"/>
            <a:ext cx="2372100" cy="162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39F8A0F1-F3DE-41D7-9584-C2BCFEE0779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 bwMode="ltGray">
          <a:xfrm>
            <a:off x="3559503" y="2069474"/>
            <a:ext cx="2160281" cy="2160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80CBBAC5-0A9C-4288-A403-336DC743B8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ltGray">
          <a:xfrm>
            <a:off x="3453595" y="4598917"/>
            <a:ext cx="2372100" cy="162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1621B2BF-28A2-4485-8FD1-88CDDC09D5C3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 bwMode="ltGray">
          <a:xfrm>
            <a:off x="6472216" y="2069474"/>
            <a:ext cx="2160281" cy="2160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B39E5F3C-B1B8-410F-BE38-EEA93B2661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ltGray">
          <a:xfrm>
            <a:off x="6366307" y="4598917"/>
            <a:ext cx="2372100" cy="162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4" name="Bildplatzhalter 5">
            <a:extLst>
              <a:ext uri="{FF2B5EF4-FFF2-40B4-BE49-F238E27FC236}">
                <a16:creationId xmlns:a16="http://schemas.microsoft.com/office/drawing/2014/main" id="{FF970147-90B0-43D7-9258-B352D1B5A347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 bwMode="ltGray">
          <a:xfrm>
            <a:off x="9384927" y="2069474"/>
            <a:ext cx="2160281" cy="2160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806449F4-7115-49D7-A63A-3A895453F7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ltGray">
          <a:xfrm>
            <a:off x="9279018" y="4598917"/>
            <a:ext cx="2372100" cy="162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12FBA5F4-E643-4E0E-BB90-3043F7B03D0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19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30">
            <a:extLst>
              <a:ext uri="{FF2B5EF4-FFF2-40B4-BE49-F238E27FC236}">
                <a16:creationId xmlns:a16="http://schemas.microsoft.com/office/drawing/2014/main" id="{2189011B-9313-4C78-BBD9-C9235D694D43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 bwMode="ltGray">
          <a:xfrm>
            <a:off x="0" y="0"/>
            <a:ext cx="5811156" cy="6858000"/>
          </a:xfrm>
          <a:noFill/>
        </p:spPr>
        <p:txBody>
          <a:bodyPr lIns="540000" tIns="0" bIns="3132000"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</a:t>
            </a:r>
            <a:r>
              <a:rPr lang="en-US" noProof="0"/>
              <a:t>of</a:t>
            </a:r>
            <a:r>
              <a:rPr lang="en-US"/>
              <a:t> the</a:t>
            </a:r>
            <a:br>
              <a:rPr lang="en-US"/>
            </a:br>
            <a:r>
              <a:rPr lang="en-US" noProof="0"/>
              <a:t>presentation</a:t>
            </a:r>
            <a:r>
              <a:rPr lang="en-US"/>
              <a:t>.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EC1635B3-5275-453E-AB66-71811EE38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1" y="4002042"/>
            <a:ext cx="5040656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4" name="Grafik 32">
            <a:extLst>
              <a:ext uri="{FF2B5EF4-FFF2-40B4-BE49-F238E27FC236}">
                <a16:creationId xmlns:a16="http://schemas.microsoft.com/office/drawing/2014/main" id="{97108177-AA1C-472D-AD76-2BB4354825AA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8770744" y="5853135"/>
            <a:ext cx="2880375" cy="602600"/>
          </a:xfrm>
          <a:custGeom>
            <a:avLst/>
            <a:gdLst>
              <a:gd name="connsiteX0" fmla="*/ 924115 w 6105905"/>
              <a:gd name="connsiteY0" fmla="*/ 1006602 h 1277588"/>
              <a:gd name="connsiteX1" fmla="*/ 132779 w 6105905"/>
              <a:gd name="connsiteY1" fmla="*/ 0 h 1277588"/>
              <a:gd name="connsiteX2" fmla="*/ 0 w 6105905"/>
              <a:gd name="connsiteY2" fmla="*/ 0 h 1277588"/>
              <a:gd name="connsiteX3" fmla="*/ 0 w 6105905"/>
              <a:gd name="connsiteY3" fmla="*/ 1256062 h 1277588"/>
              <a:gd name="connsiteX4" fmla="*/ 138208 w 6105905"/>
              <a:gd name="connsiteY4" fmla="*/ 1256062 h 1277588"/>
              <a:gd name="connsiteX5" fmla="*/ 138208 w 6105905"/>
              <a:gd name="connsiteY5" fmla="*/ 226124 h 1277588"/>
              <a:gd name="connsiteX6" fmla="*/ 949262 w 6105905"/>
              <a:gd name="connsiteY6" fmla="*/ 1256062 h 1277588"/>
              <a:gd name="connsiteX7" fmla="*/ 1062323 w 6105905"/>
              <a:gd name="connsiteY7" fmla="*/ 1256062 h 1277588"/>
              <a:gd name="connsiteX8" fmla="*/ 1062323 w 6105905"/>
              <a:gd name="connsiteY8" fmla="*/ 0 h 1277588"/>
              <a:gd name="connsiteX9" fmla="*/ 924115 w 6105905"/>
              <a:gd name="connsiteY9" fmla="*/ 0 h 1277588"/>
              <a:gd name="connsiteX10" fmla="*/ 924115 w 6105905"/>
              <a:gd name="connsiteY10" fmla="*/ 1006602 h 1277588"/>
              <a:gd name="connsiteX11" fmla="*/ 1785366 w 6105905"/>
              <a:gd name="connsiteY11" fmla="*/ 308610 h 1277588"/>
              <a:gd name="connsiteX12" fmla="*/ 1300925 w 6105905"/>
              <a:gd name="connsiteY12" fmla="*/ 794861 h 1277588"/>
              <a:gd name="connsiteX13" fmla="*/ 1781842 w 6105905"/>
              <a:gd name="connsiteY13" fmla="*/ 1277588 h 1277588"/>
              <a:gd name="connsiteX14" fmla="*/ 2268093 w 6105905"/>
              <a:gd name="connsiteY14" fmla="*/ 791337 h 1277588"/>
              <a:gd name="connsiteX15" fmla="*/ 1785366 w 6105905"/>
              <a:gd name="connsiteY15" fmla="*/ 308610 h 1277588"/>
              <a:gd name="connsiteX16" fmla="*/ 1785366 w 6105905"/>
              <a:gd name="connsiteY16" fmla="*/ 1153763 h 1277588"/>
              <a:gd name="connsiteX17" fmla="*/ 1442657 w 6105905"/>
              <a:gd name="connsiteY17" fmla="*/ 791337 h 1277588"/>
              <a:gd name="connsiteX18" fmla="*/ 1781747 w 6105905"/>
              <a:gd name="connsiteY18" fmla="*/ 430625 h 1277588"/>
              <a:gd name="connsiteX19" fmla="*/ 2126266 w 6105905"/>
              <a:gd name="connsiteY19" fmla="*/ 794861 h 1277588"/>
              <a:gd name="connsiteX20" fmla="*/ 1785366 w 6105905"/>
              <a:gd name="connsiteY20" fmla="*/ 1153763 h 1277588"/>
              <a:gd name="connsiteX21" fmla="*/ 2836831 w 6105905"/>
              <a:gd name="connsiteY21" fmla="*/ 1098137 h 1277588"/>
              <a:gd name="connsiteX22" fmla="*/ 2524601 w 6105905"/>
              <a:gd name="connsiteY22" fmla="*/ 328327 h 1277588"/>
              <a:gd name="connsiteX23" fmla="*/ 2372106 w 6105905"/>
              <a:gd name="connsiteY23" fmla="*/ 328327 h 1277588"/>
              <a:gd name="connsiteX24" fmla="*/ 2774061 w 6105905"/>
              <a:gd name="connsiteY24" fmla="*/ 1263206 h 1277588"/>
              <a:gd name="connsiteX25" fmla="*/ 2896076 w 6105905"/>
              <a:gd name="connsiteY25" fmla="*/ 1263206 h 1277588"/>
              <a:gd name="connsiteX26" fmla="*/ 3299841 w 6105905"/>
              <a:gd name="connsiteY26" fmla="*/ 328327 h 1277588"/>
              <a:gd name="connsiteX27" fmla="*/ 3150870 w 6105905"/>
              <a:gd name="connsiteY27" fmla="*/ 328327 h 1277588"/>
              <a:gd name="connsiteX28" fmla="*/ 2836831 w 6105905"/>
              <a:gd name="connsiteY28" fmla="*/ 1098137 h 1277588"/>
              <a:gd name="connsiteX29" fmla="*/ 3850672 w 6105905"/>
              <a:gd name="connsiteY29" fmla="*/ 308610 h 1277588"/>
              <a:gd name="connsiteX30" fmla="*/ 3405664 w 6105905"/>
              <a:gd name="connsiteY30" fmla="*/ 793052 h 1277588"/>
              <a:gd name="connsiteX31" fmla="*/ 3868579 w 6105905"/>
              <a:gd name="connsiteY31" fmla="*/ 1277493 h 1277588"/>
              <a:gd name="connsiteX32" fmla="*/ 4250817 w 6105905"/>
              <a:gd name="connsiteY32" fmla="*/ 1103471 h 1277588"/>
              <a:gd name="connsiteX33" fmla="*/ 4164711 w 6105905"/>
              <a:gd name="connsiteY33" fmla="*/ 1026319 h 1277588"/>
              <a:gd name="connsiteX34" fmla="*/ 3872198 w 6105905"/>
              <a:gd name="connsiteY34" fmla="*/ 1157288 h 1277588"/>
              <a:gd name="connsiteX35" fmla="*/ 3545586 w 6105905"/>
              <a:gd name="connsiteY35" fmla="*/ 843248 h 1277588"/>
              <a:gd name="connsiteX36" fmla="*/ 4281297 w 6105905"/>
              <a:gd name="connsiteY36" fmla="*/ 843248 h 1277588"/>
              <a:gd name="connsiteX37" fmla="*/ 4283107 w 6105905"/>
              <a:gd name="connsiteY37" fmla="*/ 800195 h 1277588"/>
              <a:gd name="connsiteX38" fmla="*/ 3850672 w 6105905"/>
              <a:gd name="connsiteY38" fmla="*/ 308610 h 1277588"/>
              <a:gd name="connsiteX39" fmla="*/ 3545586 w 6105905"/>
              <a:gd name="connsiteY39" fmla="*/ 741045 h 1277588"/>
              <a:gd name="connsiteX40" fmla="*/ 3847053 w 6105905"/>
              <a:gd name="connsiteY40" fmla="*/ 425196 h 1277588"/>
              <a:gd name="connsiteX41" fmla="*/ 4143089 w 6105905"/>
              <a:gd name="connsiteY41" fmla="*/ 741045 h 1277588"/>
              <a:gd name="connsiteX42" fmla="*/ 3545586 w 6105905"/>
              <a:gd name="connsiteY42" fmla="*/ 741045 h 1277588"/>
              <a:gd name="connsiteX43" fmla="*/ 4537901 w 6105905"/>
              <a:gd name="connsiteY43" fmla="*/ 1256062 h 1277588"/>
              <a:gd name="connsiteX44" fmla="*/ 4676108 w 6105905"/>
              <a:gd name="connsiteY44" fmla="*/ 1256062 h 1277588"/>
              <a:gd name="connsiteX45" fmla="*/ 4676108 w 6105905"/>
              <a:gd name="connsiteY45" fmla="*/ 0 h 1277588"/>
              <a:gd name="connsiteX46" fmla="*/ 4537901 w 6105905"/>
              <a:gd name="connsiteY46" fmla="*/ 0 h 1277588"/>
              <a:gd name="connsiteX47" fmla="*/ 4537901 w 6105905"/>
              <a:gd name="connsiteY47" fmla="*/ 1256062 h 1277588"/>
              <a:gd name="connsiteX48" fmla="*/ 5009769 w 6105905"/>
              <a:gd name="connsiteY48" fmla="*/ 1256062 h 1277588"/>
              <a:gd name="connsiteX49" fmla="*/ 5147977 w 6105905"/>
              <a:gd name="connsiteY49" fmla="*/ 1256062 h 1277588"/>
              <a:gd name="connsiteX50" fmla="*/ 5147977 w 6105905"/>
              <a:gd name="connsiteY50" fmla="*/ 294323 h 1277588"/>
              <a:gd name="connsiteX51" fmla="*/ 5009769 w 6105905"/>
              <a:gd name="connsiteY51" fmla="*/ 294323 h 1277588"/>
              <a:gd name="connsiteX52" fmla="*/ 5009769 w 6105905"/>
              <a:gd name="connsiteY52" fmla="*/ 1256062 h 1277588"/>
              <a:gd name="connsiteX53" fmla="*/ 5808250 w 6105905"/>
              <a:gd name="connsiteY53" fmla="*/ 726758 h 1277588"/>
              <a:gd name="connsiteX54" fmla="*/ 5569649 w 6105905"/>
              <a:gd name="connsiteY54" fmla="*/ 567023 h 1277588"/>
              <a:gd name="connsiteX55" fmla="*/ 5569649 w 6105905"/>
              <a:gd name="connsiteY55" fmla="*/ 563404 h 1277588"/>
              <a:gd name="connsiteX56" fmla="*/ 5749100 w 6105905"/>
              <a:gd name="connsiteY56" fmla="*/ 428816 h 1277588"/>
              <a:gd name="connsiteX57" fmla="*/ 6023610 w 6105905"/>
              <a:gd name="connsiteY57" fmla="*/ 518541 h 1277588"/>
              <a:gd name="connsiteX58" fmla="*/ 6086380 w 6105905"/>
              <a:gd name="connsiteY58" fmla="*/ 414433 h 1277588"/>
              <a:gd name="connsiteX59" fmla="*/ 5752624 w 6105905"/>
              <a:gd name="connsiteY59" fmla="*/ 312134 h 1277588"/>
              <a:gd name="connsiteX60" fmla="*/ 5436775 w 6105905"/>
              <a:gd name="connsiteY60" fmla="*/ 577691 h 1277588"/>
              <a:gd name="connsiteX61" fmla="*/ 5436775 w 6105905"/>
              <a:gd name="connsiteY61" fmla="*/ 581311 h 1277588"/>
              <a:gd name="connsiteX62" fmla="*/ 5743575 w 6105905"/>
              <a:gd name="connsiteY62" fmla="*/ 843248 h 1277588"/>
              <a:gd name="connsiteX63" fmla="*/ 5975033 w 6105905"/>
              <a:gd name="connsiteY63" fmla="*/ 1006507 h 1277588"/>
              <a:gd name="connsiteX64" fmla="*/ 5975033 w 6105905"/>
              <a:gd name="connsiteY64" fmla="*/ 1010126 h 1277588"/>
              <a:gd name="connsiteX65" fmla="*/ 5783009 w 6105905"/>
              <a:gd name="connsiteY65" fmla="*/ 1157288 h 1277588"/>
              <a:gd name="connsiteX66" fmla="*/ 5461826 w 6105905"/>
              <a:gd name="connsiteY66" fmla="*/ 1038892 h 1277588"/>
              <a:gd name="connsiteX67" fmla="*/ 5391817 w 6105905"/>
              <a:gd name="connsiteY67" fmla="*/ 1137571 h 1277588"/>
              <a:gd name="connsiteX68" fmla="*/ 5775770 w 6105905"/>
              <a:gd name="connsiteY68" fmla="*/ 1273969 h 1277588"/>
              <a:gd name="connsiteX69" fmla="*/ 6105906 w 6105905"/>
              <a:gd name="connsiteY69" fmla="*/ 995839 h 1277588"/>
              <a:gd name="connsiteX70" fmla="*/ 6105906 w 6105905"/>
              <a:gd name="connsiteY70" fmla="*/ 992219 h 1277588"/>
              <a:gd name="connsiteX71" fmla="*/ 5808250 w 6105905"/>
              <a:gd name="connsiteY71" fmla="*/ 726758 h 1277588"/>
              <a:gd name="connsiteX72" fmla="*/ 5009769 w 6105905"/>
              <a:gd name="connsiteY72" fmla="*/ 138208 h 1277588"/>
              <a:gd name="connsiteX73" fmla="*/ 5147977 w 6105905"/>
              <a:gd name="connsiteY73" fmla="*/ 138208 h 1277588"/>
              <a:gd name="connsiteX74" fmla="*/ 5147977 w 6105905"/>
              <a:gd name="connsiteY74" fmla="*/ 0 h 1277588"/>
              <a:gd name="connsiteX75" fmla="*/ 5009769 w 6105905"/>
              <a:gd name="connsiteY75" fmla="*/ 0 h 1277588"/>
              <a:gd name="connsiteX76" fmla="*/ 5009769 w 6105905"/>
              <a:gd name="connsiteY76" fmla="*/ 138208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105905" h="1277588">
                <a:moveTo>
                  <a:pt x="924115" y="1006602"/>
                </a:moveTo>
                <a:lnTo>
                  <a:pt x="132779" y="0"/>
                </a:lnTo>
                <a:lnTo>
                  <a:pt x="0" y="0"/>
                </a:lnTo>
                <a:lnTo>
                  <a:pt x="0" y="1256062"/>
                </a:lnTo>
                <a:lnTo>
                  <a:pt x="138208" y="1256062"/>
                </a:lnTo>
                <a:lnTo>
                  <a:pt x="138208" y="226124"/>
                </a:lnTo>
                <a:lnTo>
                  <a:pt x="949262" y="1256062"/>
                </a:lnTo>
                <a:lnTo>
                  <a:pt x="1062323" y="1256062"/>
                </a:lnTo>
                <a:lnTo>
                  <a:pt x="1062323" y="0"/>
                </a:lnTo>
                <a:lnTo>
                  <a:pt x="924115" y="0"/>
                </a:lnTo>
                <a:lnTo>
                  <a:pt x="924115" y="1006602"/>
                </a:lnTo>
                <a:close/>
                <a:moveTo>
                  <a:pt x="1785366" y="308610"/>
                </a:moveTo>
                <a:cubicBezTo>
                  <a:pt x="1505426" y="308610"/>
                  <a:pt x="1300925" y="531114"/>
                  <a:pt x="1300925" y="794861"/>
                </a:cubicBezTo>
                <a:cubicBezTo>
                  <a:pt x="1300925" y="1058609"/>
                  <a:pt x="1503712" y="1277588"/>
                  <a:pt x="1781842" y="1277588"/>
                </a:cubicBezTo>
                <a:cubicBezTo>
                  <a:pt x="2061782" y="1277588"/>
                  <a:pt x="2268093" y="1055084"/>
                  <a:pt x="2268093" y="791337"/>
                </a:cubicBezTo>
                <a:cubicBezTo>
                  <a:pt x="2268093" y="527590"/>
                  <a:pt x="2063496" y="308610"/>
                  <a:pt x="1785366" y="308610"/>
                </a:cubicBezTo>
                <a:close/>
                <a:moveTo>
                  <a:pt x="1785366" y="1153763"/>
                </a:moveTo>
                <a:cubicBezTo>
                  <a:pt x="1589818" y="1153763"/>
                  <a:pt x="1442657" y="992315"/>
                  <a:pt x="1442657" y="791337"/>
                </a:cubicBezTo>
                <a:cubicBezTo>
                  <a:pt x="1442657" y="590360"/>
                  <a:pt x="1580864" y="430625"/>
                  <a:pt x="1781747" y="430625"/>
                </a:cubicBezTo>
                <a:cubicBezTo>
                  <a:pt x="1977295" y="430625"/>
                  <a:pt x="2126266" y="592074"/>
                  <a:pt x="2126266" y="794861"/>
                </a:cubicBezTo>
                <a:cubicBezTo>
                  <a:pt x="2126361" y="994029"/>
                  <a:pt x="1986343" y="1153763"/>
                  <a:pt x="1785366" y="1153763"/>
                </a:cubicBezTo>
                <a:close/>
                <a:moveTo>
                  <a:pt x="2836831" y="1098137"/>
                </a:moveTo>
                <a:lnTo>
                  <a:pt x="2524601" y="328327"/>
                </a:lnTo>
                <a:lnTo>
                  <a:pt x="2372106" y="328327"/>
                </a:lnTo>
                <a:lnTo>
                  <a:pt x="2774061" y="1263206"/>
                </a:lnTo>
                <a:lnTo>
                  <a:pt x="2896076" y="1263206"/>
                </a:lnTo>
                <a:lnTo>
                  <a:pt x="3299841" y="328327"/>
                </a:lnTo>
                <a:lnTo>
                  <a:pt x="3150870" y="328327"/>
                </a:lnTo>
                <a:lnTo>
                  <a:pt x="2836831" y="1098137"/>
                </a:lnTo>
                <a:close/>
                <a:moveTo>
                  <a:pt x="3850672" y="308610"/>
                </a:moveTo>
                <a:cubicBezTo>
                  <a:pt x="3594068" y="308610"/>
                  <a:pt x="3405664" y="523970"/>
                  <a:pt x="3405664" y="793052"/>
                </a:cubicBezTo>
                <a:cubicBezTo>
                  <a:pt x="3405664" y="1081945"/>
                  <a:pt x="3613785" y="1277493"/>
                  <a:pt x="3868579" y="1277493"/>
                </a:cubicBezTo>
                <a:cubicBezTo>
                  <a:pt x="4044410" y="1277493"/>
                  <a:pt x="4157472" y="1207484"/>
                  <a:pt x="4250817" y="1103471"/>
                </a:cubicBezTo>
                <a:lnTo>
                  <a:pt x="4164711" y="1026319"/>
                </a:lnTo>
                <a:cubicBezTo>
                  <a:pt x="4089368" y="1105281"/>
                  <a:pt x="3999643" y="1157288"/>
                  <a:pt x="3872198" y="1157288"/>
                </a:cubicBezTo>
                <a:cubicBezTo>
                  <a:pt x="3708940" y="1157288"/>
                  <a:pt x="3565398" y="1044226"/>
                  <a:pt x="3545586" y="843248"/>
                </a:cubicBezTo>
                <a:lnTo>
                  <a:pt x="4281297" y="843248"/>
                </a:lnTo>
                <a:cubicBezTo>
                  <a:pt x="4283107" y="827056"/>
                  <a:pt x="4283107" y="812768"/>
                  <a:pt x="4283107" y="800195"/>
                </a:cubicBezTo>
                <a:cubicBezTo>
                  <a:pt x="4283107" y="527590"/>
                  <a:pt x="4125182" y="308610"/>
                  <a:pt x="3850672" y="308610"/>
                </a:cubicBezTo>
                <a:close/>
                <a:moveTo>
                  <a:pt x="3545586" y="741045"/>
                </a:moveTo>
                <a:cubicBezTo>
                  <a:pt x="3563493" y="559784"/>
                  <a:pt x="3685508" y="425196"/>
                  <a:pt x="3847053" y="425196"/>
                </a:cubicBezTo>
                <a:cubicBezTo>
                  <a:pt x="4031837" y="425196"/>
                  <a:pt x="4128802" y="572357"/>
                  <a:pt x="4143089" y="741045"/>
                </a:cubicBezTo>
                <a:lnTo>
                  <a:pt x="3545586" y="741045"/>
                </a:lnTo>
                <a:close/>
                <a:moveTo>
                  <a:pt x="4537901" y="1256062"/>
                </a:moveTo>
                <a:lnTo>
                  <a:pt x="4676108" y="1256062"/>
                </a:lnTo>
                <a:lnTo>
                  <a:pt x="4676108" y="0"/>
                </a:lnTo>
                <a:lnTo>
                  <a:pt x="4537901" y="0"/>
                </a:lnTo>
                <a:lnTo>
                  <a:pt x="4537901" y="1256062"/>
                </a:lnTo>
                <a:close/>
                <a:moveTo>
                  <a:pt x="5009769" y="1256062"/>
                </a:moveTo>
                <a:lnTo>
                  <a:pt x="5147977" y="1256062"/>
                </a:lnTo>
                <a:lnTo>
                  <a:pt x="5147977" y="294323"/>
                </a:lnTo>
                <a:lnTo>
                  <a:pt x="5009769" y="294323"/>
                </a:lnTo>
                <a:lnTo>
                  <a:pt x="5009769" y="1256062"/>
                </a:lnTo>
                <a:close/>
                <a:moveTo>
                  <a:pt x="5808250" y="726758"/>
                </a:moveTo>
                <a:cubicBezTo>
                  <a:pt x="5684425" y="689038"/>
                  <a:pt x="5569649" y="654939"/>
                  <a:pt x="5569649" y="567023"/>
                </a:cubicBezTo>
                <a:lnTo>
                  <a:pt x="5569649" y="563404"/>
                </a:lnTo>
                <a:cubicBezTo>
                  <a:pt x="5569649" y="486251"/>
                  <a:pt x="5639658" y="428816"/>
                  <a:pt x="5749100" y="428816"/>
                </a:cubicBezTo>
                <a:cubicBezTo>
                  <a:pt x="5838825" y="428816"/>
                  <a:pt x="5937504" y="462915"/>
                  <a:pt x="6023610" y="518541"/>
                </a:cubicBezTo>
                <a:lnTo>
                  <a:pt x="6086380" y="414433"/>
                </a:lnTo>
                <a:cubicBezTo>
                  <a:pt x="5991321" y="351663"/>
                  <a:pt x="5865686" y="312134"/>
                  <a:pt x="5752624" y="312134"/>
                </a:cubicBezTo>
                <a:cubicBezTo>
                  <a:pt x="5569649" y="312134"/>
                  <a:pt x="5436775" y="417957"/>
                  <a:pt x="5436775" y="577691"/>
                </a:cubicBezTo>
                <a:lnTo>
                  <a:pt x="5436775" y="581311"/>
                </a:lnTo>
                <a:cubicBezTo>
                  <a:pt x="5436775" y="751808"/>
                  <a:pt x="5598224" y="802005"/>
                  <a:pt x="5743575" y="843248"/>
                </a:cubicBezTo>
                <a:cubicBezTo>
                  <a:pt x="5865590" y="877348"/>
                  <a:pt x="5975033" y="913257"/>
                  <a:pt x="5975033" y="1006507"/>
                </a:cubicBezTo>
                <a:lnTo>
                  <a:pt x="5975033" y="1010126"/>
                </a:lnTo>
                <a:cubicBezTo>
                  <a:pt x="5975033" y="1099852"/>
                  <a:pt x="5894261" y="1157288"/>
                  <a:pt x="5783009" y="1157288"/>
                </a:cubicBezTo>
                <a:cubicBezTo>
                  <a:pt x="5673567" y="1157288"/>
                  <a:pt x="5562314" y="1114235"/>
                  <a:pt x="5461826" y="1038892"/>
                </a:cubicBezTo>
                <a:lnTo>
                  <a:pt x="5391817" y="1137571"/>
                </a:lnTo>
                <a:cubicBezTo>
                  <a:pt x="5495925" y="1221867"/>
                  <a:pt x="5642991" y="1273969"/>
                  <a:pt x="5775770" y="1273969"/>
                </a:cubicBezTo>
                <a:cubicBezTo>
                  <a:pt x="5960555" y="1273969"/>
                  <a:pt x="6105906" y="1171670"/>
                  <a:pt x="6105906" y="995839"/>
                </a:cubicBezTo>
                <a:lnTo>
                  <a:pt x="6105906" y="992219"/>
                </a:lnTo>
                <a:cubicBezTo>
                  <a:pt x="6106097" y="825437"/>
                  <a:pt x="5951792" y="769811"/>
                  <a:pt x="5808250" y="726758"/>
                </a:cubicBezTo>
                <a:close/>
                <a:moveTo>
                  <a:pt x="5009769" y="138208"/>
                </a:moveTo>
                <a:lnTo>
                  <a:pt x="5147977" y="138208"/>
                </a:lnTo>
                <a:lnTo>
                  <a:pt x="5147977" y="0"/>
                </a:lnTo>
                <a:lnTo>
                  <a:pt x="5009769" y="0"/>
                </a:lnTo>
                <a:lnTo>
                  <a:pt x="5009769" y="13820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7F6700CA-F81F-46A3-8777-F821D3E00814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F168A1A8-6C9A-41E0-8587-1204CF940C89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CB887ECD-4CD9-4677-9EBD-05FFA8F23F02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50C7A978-A39F-40B1-B001-E8D085D3DD82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BDCE9D4E-4F71-47B9-8075-242DFDB1D986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64489521-D0B4-4D2B-BEAE-55D350EDDF62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875366C6-2CD9-44DC-9238-C60B60CC1C4F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7EEE3DCA-4F57-4ECC-94AF-4BC466F0C2E9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1" name="Line">
                <a:extLst>
                  <a:ext uri="{FF2B5EF4-FFF2-40B4-BE49-F238E27FC236}">
                    <a16:creationId xmlns:a16="http://schemas.microsoft.com/office/drawing/2014/main" id="{5E69396D-C1E7-4583-A963-6F0C21ABE3B4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">
                <a:extLst>
                  <a:ext uri="{FF2B5EF4-FFF2-40B4-BE49-F238E27FC236}">
                    <a16:creationId xmlns:a16="http://schemas.microsoft.com/office/drawing/2014/main" id="{99E48D53-A6FA-40CF-9410-CAFA47D271AB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185FA868-770A-4694-AA25-988959B599E0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9" name="Line">
                <a:extLst>
                  <a:ext uri="{FF2B5EF4-FFF2-40B4-BE49-F238E27FC236}">
                    <a16:creationId xmlns:a16="http://schemas.microsoft.com/office/drawing/2014/main" id="{56EE5FAC-AD4D-4949-BC18-D5AFE56EB01D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">
                <a:extLst>
                  <a:ext uri="{FF2B5EF4-FFF2-40B4-BE49-F238E27FC236}">
                    <a16:creationId xmlns:a16="http://schemas.microsoft.com/office/drawing/2014/main" id="{888B6458-D673-41D3-B710-73398B731351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6" name="Hilfslinie">
              <a:extLst>
                <a:ext uri="{FF2B5EF4-FFF2-40B4-BE49-F238E27FC236}">
                  <a16:creationId xmlns:a16="http://schemas.microsoft.com/office/drawing/2014/main" id="{522EE0FB-13A5-42F4-869F-AF3F72564F65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7" name="Line">
                <a:extLst>
                  <a:ext uri="{FF2B5EF4-FFF2-40B4-BE49-F238E27FC236}">
                    <a16:creationId xmlns:a16="http://schemas.microsoft.com/office/drawing/2014/main" id="{F1E6DFA5-A385-4690-A29D-8AD33E9AE63B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">
                <a:extLst>
                  <a:ext uri="{FF2B5EF4-FFF2-40B4-BE49-F238E27FC236}">
                    <a16:creationId xmlns:a16="http://schemas.microsoft.com/office/drawing/2014/main" id="{9B1D3A69-4D67-4A73-B84B-74546B92DA35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25" name="Textplatzhalter 37">
            <a:extLst>
              <a:ext uri="{FF2B5EF4-FFF2-40B4-BE49-F238E27FC236}">
                <a16:creationId xmlns:a16="http://schemas.microsoft.com/office/drawing/2014/main" id="{B48E80F9-2D5D-48E9-9D06-A3620454F9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46171" y="4270580"/>
            <a:ext cx="4752619" cy="1368000"/>
          </a:xfrm>
        </p:spPr>
        <p:txBody>
          <a:bodyPr tIns="0"/>
          <a:lstStyle>
            <a:lvl1pPr marL="0" indent="0">
              <a:spcAft>
                <a:spcPts val="0"/>
              </a:spcAft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nter </a:t>
            </a:r>
            <a:r>
              <a:rPr lang="en-US" noProof="0"/>
              <a:t>your</a:t>
            </a:r>
            <a:r>
              <a:rPr lang="en-US"/>
              <a:t> </a:t>
            </a:r>
            <a:r>
              <a:rPr lang="en-US" noProof="0"/>
              <a:t>subtitle</a:t>
            </a:r>
            <a:r>
              <a:rPr lang="en-US"/>
              <a:t> </a:t>
            </a:r>
            <a:r>
              <a:rPr lang="en-US" noProof="0"/>
              <a:t>here</a:t>
            </a:r>
          </a:p>
        </p:txBody>
      </p:sp>
      <p:sp>
        <p:nvSpPr>
          <p:cNvPr id="26" name="Textplatzhalter 37">
            <a:extLst>
              <a:ext uri="{FF2B5EF4-FFF2-40B4-BE49-F238E27FC236}">
                <a16:creationId xmlns:a16="http://schemas.microsoft.com/office/drawing/2014/main" id="{3ABEAE30-2F03-4E1B-BD6D-6A0DAF1A25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46171" y="5972380"/>
            <a:ext cx="4752619" cy="216000"/>
          </a:xfrm>
        </p:spPr>
        <p:txBody>
          <a:bodyPr tIns="0"/>
          <a:lstStyle>
            <a:lvl1pPr marL="0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7" name="Textplatzhalter 37">
            <a:extLst>
              <a:ext uri="{FF2B5EF4-FFF2-40B4-BE49-F238E27FC236}">
                <a16:creationId xmlns:a16="http://schemas.microsoft.com/office/drawing/2014/main" id="{78D76E49-6EBB-4966-A204-EFA19BE7ED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46171" y="6239735"/>
            <a:ext cx="4752619" cy="216000"/>
          </a:xfrm>
        </p:spPr>
        <p:txBody>
          <a:bodyPr tIns="0"/>
          <a:lstStyle>
            <a:lvl1pPr marL="0" indent="0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Name of the Speaker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7676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42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4.53314E-6 -0.03403 L -4.53314E-6 0.00023 " pathEditMode="relative" rAng="0" ptsTypes="AA">
                                      <p:cBhvr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13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4.53314E-6 -0.03403 L -4.53314E-6 0.00023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13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decel="10000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4.53314E-6 -0.03403 L -4.53314E-6 0.00023 " pathEditMode="relative" rAng="0" ptsTypes="AA">
                                      <p:cBhvr>
                                        <p:cTn id="2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7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/>
      <p:bldP spid="2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1500"/>
                  </p:stCondLst>
                  <p:childTnLst>
                    <p:animMotion origin="layout" path="M -4.53314E-6 -0.03403 L -4.53314E-6 0.00023 " pathEditMode="relative" rAng="0" ptsTypes="AA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13"/>
                    </p:animMotion>
                  </p:childTnLst>
                </p:cTn>
              </p:par>
            </p:tnLst>
          </p:tmpl>
        </p:tmplLst>
      </p:bldP>
      <p:bldP spid="26" grpId="0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1500"/>
                  </p:stCondLst>
                  <p:childTnLst>
                    <p:animMotion origin="layout" path="M -4.53314E-6 -0.03403 L -4.53314E-6 0.00023 " pathEditMode="relative" rAng="0" ptsTypes="AA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13"/>
                    </p:animMotion>
                  </p:childTnLst>
                </p:cTn>
              </p:par>
            </p:tnLst>
          </p:tmpl>
        </p:tmplLst>
      </p:bldP>
      <p:bldP spid="27" grpId="0">
        <p:tmplLst>
          <p:tmpl>
            <p:tnLst>
              <p:par>
                <p:cTn presetID="10" presetClass="entr" presetSubtype="0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1500"/>
                  </p:stCondLst>
                  <p:childTnLst>
                    <p:animMotion origin="layout" path="M -4.53314E-6 -0.03403 L -4.53314E-6 0.00023 " pathEditMode="relative" rAng="0" ptsTypes="AA">
                      <p:cBhvr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713"/>
                    </p:animMotion>
                  </p:childTnLst>
                </p:cTn>
              </p:par>
            </p:tnLst>
          </p:tmpl>
        </p:tmplLst>
      </p:bldP>
    </p:bldLst>
  </p:timing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ictures Circl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A56444CC-51A9-4BFE-9ADE-38643B0C9F9C}"/>
              </a:ext>
            </a:extLst>
          </p:cNvPr>
          <p:cNvSpPr/>
          <p:nvPr userDrawn="1"/>
        </p:nvSpPr>
        <p:spPr bwMode="ltGray">
          <a:xfrm>
            <a:off x="1" y="0"/>
            <a:ext cx="12192000" cy="3429000"/>
          </a:xfrm>
          <a:prstGeom prst="rect">
            <a:avLst/>
          </a:prstGeom>
          <a:gradFill>
            <a:gsLst>
              <a:gs pos="0">
                <a:schemeClr val="accent6"/>
              </a:gs>
              <a:gs pos="100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800" noProof="0">
              <a:solidFill>
                <a:schemeClr val="bg1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5FE92CE-6B60-4670-AF11-6067D062C2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114C7F-44FA-4C88-AAF9-50D7A1F90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40883" y="441625"/>
            <a:ext cx="1111023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9761A137-EA83-4481-8C2E-4983C12BD517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607120" y="2069474"/>
            <a:ext cx="1656216" cy="1656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55289EBB-CD34-44B3-B3B2-2E96FD3EFB1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540883" y="4058917"/>
            <a:ext cx="1788692" cy="216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1BFCAFA6-FB04-4177-911A-492C5F0A1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ltGray">
          <a:xfrm>
            <a:off x="2871664" y="4058917"/>
            <a:ext cx="1788692" cy="216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034DA424-AE1D-4D38-81E7-437AB88D6BF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ltGray">
          <a:xfrm>
            <a:off x="5201919" y="4058917"/>
            <a:ext cx="1788692" cy="216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platzhalter 4">
            <a:extLst>
              <a:ext uri="{FF2B5EF4-FFF2-40B4-BE49-F238E27FC236}">
                <a16:creationId xmlns:a16="http://schemas.microsoft.com/office/drawing/2014/main" id="{41C8B33E-CC5D-4498-B1F7-9A8373EDC9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ltGray">
          <a:xfrm>
            <a:off x="7532173" y="4058917"/>
            <a:ext cx="1788692" cy="216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B949B15C-08B9-4D55-8464-7180171A2DC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ltGray">
          <a:xfrm>
            <a:off x="9862426" y="4058917"/>
            <a:ext cx="1788692" cy="2160000"/>
          </a:xfrm>
        </p:spPr>
        <p:txBody>
          <a:bodyPr tIns="0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661ED7D0-AE92-4266-85FB-D7DF720FD0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 bwMode="ltGray">
          <a:xfrm>
            <a:off x="2937901" y="2069474"/>
            <a:ext cx="1656216" cy="1656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B9CC0ABD-0776-4275-B5B1-83EDD4B13B7C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 bwMode="ltGray">
          <a:xfrm>
            <a:off x="5268156" y="2069474"/>
            <a:ext cx="1656216" cy="1656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5" name="Bildplatzhalter 5">
            <a:extLst>
              <a:ext uri="{FF2B5EF4-FFF2-40B4-BE49-F238E27FC236}">
                <a16:creationId xmlns:a16="http://schemas.microsoft.com/office/drawing/2014/main" id="{55A49D8F-A500-46F0-9655-1850C8B298C6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 bwMode="ltGray">
          <a:xfrm>
            <a:off x="7598410" y="2069474"/>
            <a:ext cx="1656216" cy="1656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6" name="Bildplatzhalter 5">
            <a:extLst>
              <a:ext uri="{FF2B5EF4-FFF2-40B4-BE49-F238E27FC236}">
                <a16:creationId xmlns:a16="http://schemas.microsoft.com/office/drawing/2014/main" id="{9791A1BA-92BC-46F8-8AE1-ECB1173E5041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 bwMode="ltGray">
          <a:xfrm>
            <a:off x="9928663" y="2069474"/>
            <a:ext cx="1656216" cy="1656000"/>
          </a:xfrm>
          <a:prstGeom prst="ellipse">
            <a:avLst/>
          </a:prstGeo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  <a:ln w="88900">
            <a:solidFill>
              <a:schemeClr val="bg1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9C29AA77-F52A-46D9-B8C1-A278B8BF9C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815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s With Textboxes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8" name="Grafik 4">
            <a:extLst>
              <a:ext uri="{FF2B5EF4-FFF2-40B4-BE49-F238E27FC236}">
                <a16:creationId xmlns:a16="http://schemas.microsoft.com/office/drawing/2014/main" id="{58A61FB5-656D-461D-91B0-4A2D4F0D6955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76623D0E-DF5E-41DE-B762-BFC9EE9D77A6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32B62582-732E-46F7-BE48-25623807BC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262D2DB-5BCF-48C0-B16C-0CF27373F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0" name="Bildplatzhalter 5">
            <a:extLst>
              <a:ext uri="{FF2B5EF4-FFF2-40B4-BE49-F238E27FC236}">
                <a16:creationId xmlns:a16="http://schemas.microsoft.com/office/drawing/2014/main" id="{82E8575D-6646-4819-ACBC-A4A327FB5B2B}"/>
              </a:ext>
            </a:extLst>
          </p:cNvPr>
          <p:cNvSpPr>
            <a:spLocks noGrp="1" noChangeAspect="1"/>
          </p:cNvSpPr>
          <p:nvPr userDrawn="1">
            <p:ph type="pic" sz="quarter" idx="10"/>
          </p:nvPr>
        </p:nvSpPr>
        <p:spPr bwMode="ltGray">
          <a:xfrm>
            <a:off x="540883" y="2078917"/>
            <a:ext cx="3343095" cy="1689828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7CDBF35C-0752-43A8-B53F-276DBEBC4BC2}"/>
              </a:ext>
            </a:extLst>
          </p:cNvPr>
          <p:cNvSpPr>
            <a:spLocks noGrp="1" noChangeAspect="1"/>
          </p:cNvSpPr>
          <p:nvPr userDrawn="1">
            <p:ph type="body" sz="quarter" idx="21" hasCustomPrompt="1"/>
          </p:nvPr>
        </p:nvSpPr>
        <p:spPr bwMode="ltGray">
          <a:xfrm>
            <a:off x="540882" y="3768745"/>
            <a:ext cx="3343095" cy="2450172"/>
          </a:xfrm>
          <a:solidFill>
            <a:schemeClr val="bg1"/>
          </a:solidFill>
        </p:spPr>
        <p:txBody>
          <a:bodyPr lIns="144000" tIns="252000" rIns="144000" bIns="144000"/>
          <a:lstStyle>
            <a:lvl1pPr marL="0" indent="0" algn="l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9AAA747-291B-4D38-87BE-298EB450AC8A}"/>
              </a:ext>
            </a:extLst>
          </p:cNvPr>
          <p:cNvSpPr>
            <a:spLocks noGrp="1" noChangeAspect="1"/>
          </p:cNvSpPr>
          <p:nvPr userDrawn="1">
            <p:ph type="body" sz="quarter" idx="22" hasCustomPrompt="1"/>
          </p:nvPr>
        </p:nvSpPr>
        <p:spPr bwMode="ltGray">
          <a:xfrm>
            <a:off x="540269" y="2985362"/>
            <a:ext cx="3343710" cy="792001"/>
          </a:xfrm>
          <a:gradFill>
            <a:gsLst>
              <a:gs pos="57000">
                <a:schemeClr val="accent6">
                  <a:alpha val="50000"/>
                </a:schemeClr>
              </a:gs>
              <a:gs pos="0">
                <a:schemeClr val="accent6">
                  <a:alpha val="70000"/>
                </a:schemeClr>
              </a:gs>
              <a:gs pos="100000">
                <a:schemeClr val="accent6">
                  <a:alpha val="0"/>
                </a:schemeClr>
              </a:gs>
            </a:gsLst>
            <a:lin ang="16200000" scaled="0"/>
          </a:gradFill>
        </p:spPr>
        <p:txBody>
          <a:bodyPr lIns="252000" tIns="0" rIns="252000" bIns="252000" anchor="b" anchorCtr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306000" indent="0">
              <a:buNone/>
              <a:defRPr/>
            </a:lvl2pPr>
          </a:lstStyle>
          <a:p>
            <a:pPr lvl="0"/>
            <a:r>
              <a:rPr lang="en-US" noProof="0"/>
              <a:t>Placeholder text.</a:t>
            </a:r>
          </a:p>
        </p:txBody>
      </p:sp>
      <p:sp>
        <p:nvSpPr>
          <p:cNvPr id="34" name="Bildplatzhalter 5">
            <a:extLst>
              <a:ext uri="{FF2B5EF4-FFF2-40B4-BE49-F238E27FC236}">
                <a16:creationId xmlns:a16="http://schemas.microsoft.com/office/drawing/2014/main" id="{73392A2C-8D17-41C5-9DD1-1EEEC41134F1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 bwMode="ltGray">
          <a:xfrm>
            <a:off x="4424452" y="2078917"/>
            <a:ext cx="3343095" cy="1689828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5" name="Textplatzhalter 4">
            <a:extLst>
              <a:ext uri="{FF2B5EF4-FFF2-40B4-BE49-F238E27FC236}">
                <a16:creationId xmlns:a16="http://schemas.microsoft.com/office/drawing/2014/main" id="{C521F659-2A58-441D-AD7F-D7FA7A491135}"/>
              </a:ext>
            </a:extLst>
          </p:cNvPr>
          <p:cNvSpPr>
            <a:spLocks noGrp="1" noChangeAspect="1"/>
          </p:cNvSpPr>
          <p:nvPr>
            <p:ph type="body" sz="quarter" idx="24" hasCustomPrompt="1"/>
          </p:nvPr>
        </p:nvSpPr>
        <p:spPr bwMode="ltGray">
          <a:xfrm>
            <a:off x="4424452" y="3768745"/>
            <a:ext cx="3343095" cy="2450172"/>
          </a:xfrm>
          <a:solidFill>
            <a:schemeClr val="bg1"/>
          </a:solidFill>
        </p:spPr>
        <p:txBody>
          <a:bodyPr lIns="144000" tIns="252000" rIns="144000" bIns="144000"/>
          <a:lstStyle>
            <a:lvl1pPr marL="0" indent="0" algn="l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Textplatzhalter 5">
            <a:extLst>
              <a:ext uri="{FF2B5EF4-FFF2-40B4-BE49-F238E27FC236}">
                <a16:creationId xmlns:a16="http://schemas.microsoft.com/office/drawing/2014/main" id="{50D4264B-C565-4FE6-81B3-A0A84512EC04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 bwMode="ltGray">
          <a:xfrm>
            <a:off x="4424146" y="2985362"/>
            <a:ext cx="3343710" cy="792001"/>
          </a:xfrm>
          <a:gradFill>
            <a:gsLst>
              <a:gs pos="57000">
                <a:schemeClr val="accent6">
                  <a:alpha val="50000"/>
                </a:schemeClr>
              </a:gs>
              <a:gs pos="0">
                <a:schemeClr val="accent6">
                  <a:alpha val="70000"/>
                </a:schemeClr>
              </a:gs>
              <a:gs pos="100000">
                <a:schemeClr val="accent6">
                  <a:alpha val="0"/>
                </a:schemeClr>
              </a:gs>
            </a:gsLst>
            <a:lin ang="16200000" scaled="0"/>
          </a:gradFill>
        </p:spPr>
        <p:txBody>
          <a:bodyPr lIns="252000" tIns="0" rIns="252000" bIns="252000" anchor="b" anchorCtr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306000" indent="0">
              <a:buNone/>
              <a:defRPr/>
            </a:lvl2pPr>
          </a:lstStyle>
          <a:p>
            <a:pPr lvl="0"/>
            <a:r>
              <a:rPr lang="en-US" noProof="0"/>
              <a:t>Placeholder text.</a:t>
            </a:r>
          </a:p>
        </p:txBody>
      </p:sp>
      <p:sp>
        <p:nvSpPr>
          <p:cNvPr id="37" name="Bildplatzhalter 5">
            <a:extLst>
              <a:ext uri="{FF2B5EF4-FFF2-40B4-BE49-F238E27FC236}">
                <a16:creationId xmlns:a16="http://schemas.microsoft.com/office/drawing/2014/main" id="{8F6DEE59-C828-4DF9-8CFA-9AF313E0491B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 bwMode="ltGray">
          <a:xfrm>
            <a:off x="8307495" y="2078917"/>
            <a:ext cx="3343095" cy="1689828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A49C21D3-FE23-4767-84AF-208F5F7C8E93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 bwMode="ltGray">
          <a:xfrm>
            <a:off x="8307495" y="3768745"/>
            <a:ext cx="3343095" cy="2450172"/>
          </a:xfrm>
          <a:solidFill>
            <a:schemeClr val="bg1"/>
          </a:solidFill>
        </p:spPr>
        <p:txBody>
          <a:bodyPr lIns="144000" tIns="252000" rIns="144000" bIns="144000"/>
          <a:lstStyle>
            <a:lvl1pPr marL="0" indent="0" algn="l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Textplatzhalter 5">
            <a:extLst>
              <a:ext uri="{FF2B5EF4-FFF2-40B4-BE49-F238E27FC236}">
                <a16:creationId xmlns:a16="http://schemas.microsoft.com/office/drawing/2014/main" id="{79D1AFF3-FF19-43E8-9916-BE04A30FE9B7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ltGray">
          <a:xfrm>
            <a:off x="8306881" y="2985362"/>
            <a:ext cx="3343710" cy="792001"/>
          </a:xfrm>
          <a:gradFill>
            <a:gsLst>
              <a:gs pos="57000">
                <a:schemeClr val="accent6">
                  <a:alpha val="50000"/>
                </a:schemeClr>
              </a:gs>
              <a:gs pos="0">
                <a:schemeClr val="accent6">
                  <a:alpha val="70000"/>
                </a:schemeClr>
              </a:gs>
              <a:gs pos="100000">
                <a:schemeClr val="accent6">
                  <a:alpha val="0"/>
                </a:schemeClr>
              </a:gs>
            </a:gsLst>
            <a:lin ang="16200000" scaled="0"/>
          </a:gradFill>
        </p:spPr>
        <p:txBody>
          <a:bodyPr lIns="252000" tIns="0" rIns="252000" bIns="252000" anchor="b" anchorCtr="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306000" indent="0">
              <a:buNone/>
              <a:defRPr/>
            </a:lvl2pPr>
          </a:lstStyle>
          <a:p>
            <a:pPr lvl="0"/>
            <a:r>
              <a:rPr lang="en-US" noProof="0"/>
              <a:t>Placeholder text.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1B88A61C-5553-42D5-95AA-B5E283CAE914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56" name="Hilfslinie">
              <a:extLst>
                <a:ext uri="{FF2B5EF4-FFF2-40B4-BE49-F238E27FC236}">
                  <a16:creationId xmlns:a16="http://schemas.microsoft.com/office/drawing/2014/main" id="{58AA5DBD-D248-4024-A096-CEDAACE5002D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69" name="Line">
                <a:extLst>
                  <a:ext uri="{FF2B5EF4-FFF2-40B4-BE49-F238E27FC236}">
                    <a16:creationId xmlns:a16="http://schemas.microsoft.com/office/drawing/2014/main" id="{A0D6D7B7-5659-4292-BDE9-6AC8ECA5F2FF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" name="Text">
                <a:extLst>
                  <a:ext uri="{FF2B5EF4-FFF2-40B4-BE49-F238E27FC236}">
                    <a16:creationId xmlns:a16="http://schemas.microsoft.com/office/drawing/2014/main" id="{CE02247F-35D7-4B5C-A553-50DC4BF1D88A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57" name="Hilfslinie">
              <a:extLst>
                <a:ext uri="{FF2B5EF4-FFF2-40B4-BE49-F238E27FC236}">
                  <a16:creationId xmlns:a16="http://schemas.microsoft.com/office/drawing/2014/main" id="{AE74BA17-D59A-41A6-9AAA-10AC382C991E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67" name="Line">
                <a:extLst>
                  <a:ext uri="{FF2B5EF4-FFF2-40B4-BE49-F238E27FC236}">
                    <a16:creationId xmlns:a16="http://schemas.microsoft.com/office/drawing/2014/main" id="{E4C1163C-39C1-4646-8BD8-648D47C6B4ED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Text">
                <a:extLst>
                  <a:ext uri="{FF2B5EF4-FFF2-40B4-BE49-F238E27FC236}">
                    <a16:creationId xmlns:a16="http://schemas.microsoft.com/office/drawing/2014/main" id="{3060D63B-2B49-4C34-AEB0-2AC59AF30AA3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58" name="Hilfslinie">
              <a:extLst>
                <a:ext uri="{FF2B5EF4-FFF2-40B4-BE49-F238E27FC236}">
                  <a16:creationId xmlns:a16="http://schemas.microsoft.com/office/drawing/2014/main" id="{CF2CA170-1EFB-4573-9999-C12D9800DA33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65" name="Line">
                <a:extLst>
                  <a:ext uri="{FF2B5EF4-FFF2-40B4-BE49-F238E27FC236}">
                    <a16:creationId xmlns:a16="http://schemas.microsoft.com/office/drawing/2014/main" id="{D70F6392-CFCD-43E2-8375-DC4ABB565168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6" name="Text">
                <a:extLst>
                  <a:ext uri="{FF2B5EF4-FFF2-40B4-BE49-F238E27FC236}">
                    <a16:creationId xmlns:a16="http://schemas.microsoft.com/office/drawing/2014/main" id="{D53F62FA-864D-4B74-B68F-D6100C51614C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59" name="Hilfslinie">
              <a:extLst>
                <a:ext uri="{FF2B5EF4-FFF2-40B4-BE49-F238E27FC236}">
                  <a16:creationId xmlns:a16="http://schemas.microsoft.com/office/drawing/2014/main" id="{D91B8093-5769-48DC-A705-93E6C7E484CA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63" name="Line">
                <a:extLst>
                  <a:ext uri="{FF2B5EF4-FFF2-40B4-BE49-F238E27FC236}">
                    <a16:creationId xmlns:a16="http://schemas.microsoft.com/office/drawing/2014/main" id="{8FF1B944-BAEA-4583-9D16-9772171688B4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">
                <a:extLst>
                  <a:ext uri="{FF2B5EF4-FFF2-40B4-BE49-F238E27FC236}">
                    <a16:creationId xmlns:a16="http://schemas.microsoft.com/office/drawing/2014/main" id="{5892D0B2-06E7-4AAD-A914-3E137C40016B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60" name="Hilfslinie">
              <a:extLst>
                <a:ext uri="{FF2B5EF4-FFF2-40B4-BE49-F238E27FC236}">
                  <a16:creationId xmlns:a16="http://schemas.microsoft.com/office/drawing/2014/main" id="{610297EA-29A7-4092-953C-63CA7776B1AB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61" name="Line">
                <a:extLst>
                  <a:ext uri="{FF2B5EF4-FFF2-40B4-BE49-F238E27FC236}">
                    <a16:creationId xmlns:a16="http://schemas.microsoft.com/office/drawing/2014/main" id="{AB2D3CA7-215C-4BA1-A89D-5B865390F344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">
                <a:extLst>
                  <a:ext uri="{FF2B5EF4-FFF2-40B4-BE49-F238E27FC236}">
                    <a16:creationId xmlns:a16="http://schemas.microsoft.com/office/drawing/2014/main" id="{35D74F6C-405F-4DBF-88E5-4D0CC445D3EB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grpSp>
        <p:nvGrpSpPr>
          <p:cNvPr id="40" name="Gruppieren 1">
            <a:extLst>
              <a:ext uri="{FF2B5EF4-FFF2-40B4-BE49-F238E27FC236}">
                <a16:creationId xmlns:a16="http://schemas.microsoft.com/office/drawing/2014/main" id="{6B0FA5A1-53A5-4CFE-8ADB-38B2DC47DC4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2668296"/>
            <a:chOff x="12427519" y="121759"/>
            <a:chExt cx="2016001" cy="2668296"/>
          </a:xfrm>
        </p:grpSpPr>
        <p:sp>
          <p:nvSpPr>
            <p:cNvPr id="41" name="Textfeld 22">
              <a:extLst>
                <a:ext uri="{FF2B5EF4-FFF2-40B4-BE49-F238E27FC236}">
                  <a16:creationId xmlns:a16="http://schemas.microsoft.com/office/drawing/2014/main" id="{CE514320-2CAD-4A69-8F4C-3C83E0D570A2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2250222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42" name="Gruppieren 23">
              <a:extLst>
                <a:ext uri="{FF2B5EF4-FFF2-40B4-BE49-F238E27FC236}">
                  <a16:creationId xmlns:a16="http://schemas.microsoft.com/office/drawing/2014/main" id="{9ADFFF9A-0285-40BE-8E6E-74AEF930D0D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44" name="Freihandform: Form 24">
                <a:extLst>
                  <a:ext uri="{FF2B5EF4-FFF2-40B4-BE49-F238E27FC236}">
                    <a16:creationId xmlns:a16="http://schemas.microsoft.com/office/drawing/2014/main" id="{4E2D52FA-D44D-4C28-BFF1-BB20EA4E0346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45" name="Gruppieren 25">
                <a:extLst>
                  <a:ext uri="{FF2B5EF4-FFF2-40B4-BE49-F238E27FC236}">
                    <a16:creationId xmlns:a16="http://schemas.microsoft.com/office/drawing/2014/main" id="{95155CD0-CC1A-4152-B3A8-75EE631BEAFF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46" name="Gerader Verbinder 26">
                  <a:extLst>
                    <a:ext uri="{FF2B5EF4-FFF2-40B4-BE49-F238E27FC236}">
                      <a16:creationId xmlns:a16="http://schemas.microsoft.com/office/drawing/2014/main" id="{91FD1F3D-9298-473A-B150-0C1F7D0F9B8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7" name="Gerader Verbinder 27">
                  <a:extLst>
                    <a:ext uri="{FF2B5EF4-FFF2-40B4-BE49-F238E27FC236}">
                      <a16:creationId xmlns:a16="http://schemas.microsoft.com/office/drawing/2014/main" id="{50FCFA86-C8E3-4A06-AC99-D7FF3C9320B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8" name="Gerader Verbinder 28">
                  <a:extLst>
                    <a:ext uri="{FF2B5EF4-FFF2-40B4-BE49-F238E27FC236}">
                      <a16:creationId xmlns:a16="http://schemas.microsoft.com/office/drawing/2014/main" id="{EC0A62B6-B95D-4DAD-98EC-809DEAED9D6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49" name="Gerader Verbinder 29">
                  <a:extLst>
                    <a:ext uri="{FF2B5EF4-FFF2-40B4-BE49-F238E27FC236}">
                      <a16:creationId xmlns:a16="http://schemas.microsoft.com/office/drawing/2014/main" id="{008D9BE7-4BF0-415B-BE90-CCDB93DD8F7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43" name="Gerader Verbinder 31">
              <a:extLst>
                <a:ext uri="{FF2B5EF4-FFF2-40B4-BE49-F238E27FC236}">
                  <a16:creationId xmlns:a16="http://schemas.microsoft.com/office/drawing/2014/main" id="{6ED37FD9-5C2A-41CC-A19A-FEB5212E084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4031F62C-7DB3-40C6-BCFA-5324394A866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77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Quotation">
            <a:extLst>
              <a:ext uri="{FF2B5EF4-FFF2-40B4-BE49-F238E27FC236}">
                <a16:creationId xmlns:a16="http://schemas.microsoft.com/office/drawing/2014/main" id="{99C28401-4484-4722-8402-F2514A4919B7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6369425" y="438878"/>
            <a:ext cx="1010992" cy="847602"/>
            <a:chOff x="537029" y="1572196"/>
            <a:chExt cx="1010860" cy="847602"/>
          </a:xfr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path path="circle">
              <a:fillToRect l="50000" t="50000" r="50000" b="50000"/>
            </a:path>
          </a:gradFill>
        </p:grpSpPr>
        <p:sp>
          <p:nvSpPr>
            <p:cNvPr id="8" name="Apostrophe">
              <a:extLst>
                <a:ext uri="{FF2B5EF4-FFF2-40B4-BE49-F238E27FC236}">
                  <a16:creationId xmlns:a16="http://schemas.microsoft.com/office/drawing/2014/main" id="{5386F6CF-D3EB-40A3-9897-3264383081B6}"/>
                </a:ext>
              </a:extLst>
            </p:cNvPr>
            <p:cNvSpPr/>
            <p:nvPr/>
          </p:nvSpPr>
          <p:spPr bwMode="gray">
            <a:xfrm>
              <a:off x="537029" y="1572196"/>
              <a:ext cx="466798" cy="847602"/>
            </a:xfrm>
            <a:custGeom>
              <a:avLst/>
              <a:gdLst/>
              <a:ahLst/>
              <a:cxnLst/>
              <a:rect l="l" t="t" r="r" b="b"/>
              <a:pathLst>
                <a:path w="309539" h="580653">
                  <a:moveTo>
                    <a:pt x="0" y="0"/>
                  </a:moveTo>
                  <a:lnTo>
                    <a:pt x="309539" y="0"/>
                  </a:lnTo>
                  <a:lnTo>
                    <a:pt x="309539" y="238380"/>
                  </a:lnTo>
                  <a:cubicBezTo>
                    <a:pt x="309539" y="326143"/>
                    <a:pt x="291275" y="395522"/>
                    <a:pt x="254747" y="446519"/>
                  </a:cubicBezTo>
                  <a:cubicBezTo>
                    <a:pt x="218219" y="497516"/>
                    <a:pt x="155837" y="542227"/>
                    <a:pt x="67601" y="580653"/>
                  </a:cubicBezTo>
                  <a:lnTo>
                    <a:pt x="0" y="453991"/>
                  </a:lnTo>
                  <a:cubicBezTo>
                    <a:pt x="55029" y="428374"/>
                    <a:pt x="92862" y="402875"/>
                    <a:pt x="113498" y="377495"/>
                  </a:cubicBezTo>
                  <a:cubicBezTo>
                    <a:pt x="134134" y="352115"/>
                    <a:pt x="145638" y="322110"/>
                    <a:pt x="148010" y="287480"/>
                  </a:cubicBezTo>
                  <a:lnTo>
                    <a:pt x="0" y="28748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</a:ln>
            <a:effectLst/>
          </p:spPr>
          <p:txBody>
            <a:bodyPr lIns="0" tIns="0" rIns="0" bIns="0" rtlCol="0" anchor="ctr"/>
            <a:lstStyle/>
            <a:p>
              <a:endParaRPr lang="en-US" sz="1800" noProof="0"/>
            </a:p>
          </p:txBody>
        </p:sp>
        <p:sp>
          <p:nvSpPr>
            <p:cNvPr id="9" name="Apostrophe">
              <a:extLst>
                <a:ext uri="{FF2B5EF4-FFF2-40B4-BE49-F238E27FC236}">
                  <a16:creationId xmlns:a16="http://schemas.microsoft.com/office/drawing/2014/main" id="{4F25DD05-7C62-4A48-B995-2D046B70896C}"/>
                </a:ext>
              </a:extLst>
            </p:cNvPr>
            <p:cNvSpPr/>
            <p:nvPr/>
          </p:nvSpPr>
          <p:spPr bwMode="gray">
            <a:xfrm>
              <a:off x="1081091" y="1572196"/>
              <a:ext cx="466798" cy="847602"/>
            </a:xfrm>
            <a:custGeom>
              <a:avLst/>
              <a:gdLst/>
              <a:ahLst/>
              <a:cxnLst/>
              <a:rect l="l" t="t" r="r" b="b"/>
              <a:pathLst>
                <a:path w="309539" h="580653">
                  <a:moveTo>
                    <a:pt x="0" y="0"/>
                  </a:moveTo>
                  <a:lnTo>
                    <a:pt x="309539" y="0"/>
                  </a:lnTo>
                  <a:lnTo>
                    <a:pt x="309539" y="238380"/>
                  </a:lnTo>
                  <a:cubicBezTo>
                    <a:pt x="309539" y="326143"/>
                    <a:pt x="291275" y="395522"/>
                    <a:pt x="254747" y="446519"/>
                  </a:cubicBezTo>
                  <a:cubicBezTo>
                    <a:pt x="218219" y="497516"/>
                    <a:pt x="155837" y="542227"/>
                    <a:pt x="67600" y="580653"/>
                  </a:cubicBezTo>
                  <a:lnTo>
                    <a:pt x="0" y="453991"/>
                  </a:lnTo>
                  <a:cubicBezTo>
                    <a:pt x="55029" y="428374"/>
                    <a:pt x="92861" y="402875"/>
                    <a:pt x="113497" y="377495"/>
                  </a:cubicBezTo>
                  <a:cubicBezTo>
                    <a:pt x="134133" y="352115"/>
                    <a:pt x="145637" y="322110"/>
                    <a:pt x="148009" y="287480"/>
                  </a:cubicBezTo>
                  <a:lnTo>
                    <a:pt x="0" y="28748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 cap="rnd">
              <a:solidFill>
                <a:schemeClr val="tx2"/>
              </a:solidFill>
              <a:prstDash val="solid"/>
              <a:round/>
            </a:ln>
            <a:effectLst/>
          </p:spPr>
          <p:txBody>
            <a:bodyPr lIns="0" tIns="0" rIns="0" bIns="0" rtlCol="0" anchor="ctr"/>
            <a:lstStyle/>
            <a:p>
              <a:endParaRPr lang="en-US" sz="1800" noProof="0"/>
            </a:p>
          </p:txBody>
        </p:sp>
      </p:grpSp>
      <p:sp>
        <p:nvSpPr>
          <p:cNvPr id="28" name="Bildplatzhalter 5">
            <a:extLst>
              <a:ext uri="{FF2B5EF4-FFF2-40B4-BE49-F238E27FC236}">
                <a16:creationId xmlns:a16="http://schemas.microsoft.com/office/drawing/2014/main" id="{5AFF47FC-2FA2-4E3A-9844-8FA3FFB4FD49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1" y="0"/>
            <a:ext cx="5808709" cy="6858000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8B109277-9D61-4C22-800D-0C707E16B5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365509" y="2078915"/>
            <a:ext cx="5285488" cy="4140000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0513383-0BC6-45B9-9E10-AA8CE844B57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5" name="Hilfslinie">
              <a:extLst>
                <a:ext uri="{FF2B5EF4-FFF2-40B4-BE49-F238E27FC236}">
                  <a16:creationId xmlns:a16="http://schemas.microsoft.com/office/drawing/2014/main" id="{509510E8-A58C-41BE-9FA5-BDC5BE8B619C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6" name="Line">
                <a:extLst>
                  <a:ext uri="{FF2B5EF4-FFF2-40B4-BE49-F238E27FC236}">
                    <a16:creationId xmlns:a16="http://schemas.microsoft.com/office/drawing/2014/main" id="{71A17F6A-CAC8-439D-93FF-FD0C2F867D02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">
                <a:extLst>
                  <a:ext uri="{FF2B5EF4-FFF2-40B4-BE49-F238E27FC236}">
                    <a16:creationId xmlns:a16="http://schemas.microsoft.com/office/drawing/2014/main" id="{681A3F6D-CE6C-462E-956F-626D60018468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26" name="Hilfslinie">
              <a:extLst>
                <a:ext uri="{FF2B5EF4-FFF2-40B4-BE49-F238E27FC236}">
                  <a16:creationId xmlns:a16="http://schemas.microsoft.com/office/drawing/2014/main" id="{FCBE8C3D-7C1F-4857-BEAD-4E20A3947BEC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0A0FD418-8388-4571-8BF0-E2732D9BC09E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87BB10AA-4F33-4938-883D-64C82B607A7F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27" name="Hilfslinie">
              <a:extLst>
                <a:ext uri="{FF2B5EF4-FFF2-40B4-BE49-F238E27FC236}">
                  <a16:creationId xmlns:a16="http://schemas.microsoft.com/office/drawing/2014/main" id="{B5A9532B-1F1A-4961-B250-FC8BD4267065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D3A5C26F-CBE3-40C6-94ED-823236FD6FBD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A433A653-1EC1-4E62-A632-F2F7A43BE320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29" name="Hilfslinie">
              <a:extLst>
                <a:ext uri="{FF2B5EF4-FFF2-40B4-BE49-F238E27FC236}">
                  <a16:creationId xmlns:a16="http://schemas.microsoft.com/office/drawing/2014/main" id="{223D2E24-E7FB-4571-A4A4-DCF37814A259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7B5867DD-F071-4633-87AF-C38D69E501EF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39F18EFE-DE11-40B4-B262-F4346A9A4589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30" name="Hilfslinie">
              <a:extLst>
                <a:ext uri="{FF2B5EF4-FFF2-40B4-BE49-F238E27FC236}">
                  <a16:creationId xmlns:a16="http://schemas.microsoft.com/office/drawing/2014/main" id="{C8D2C1CF-617F-4354-ACF7-A17A4ED16DF7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31" name="Line">
                <a:extLst>
                  <a:ext uri="{FF2B5EF4-FFF2-40B4-BE49-F238E27FC236}">
                    <a16:creationId xmlns:a16="http://schemas.microsoft.com/office/drawing/2014/main" id="{49C9B8A4-2C93-4A81-B235-6B1ACAEC0EB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">
                <a:extLst>
                  <a:ext uri="{FF2B5EF4-FFF2-40B4-BE49-F238E27FC236}">
                    <a16:creationId xmlns:a16="http://schemas.microsoft.com/office/drawing/2014/main" id="{9A20642C-E5EA-46AC-8ED9-0239B20FE791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34" name="Grafik 32">
            <a:extLst>
              <a:ext uri="{FF2B5EF4-FFF2-40B4-BE49-F238E27FC236}">
                <a16:creationId xmlns:a16="http://schemas.microsoft.com/office/drawing/2014/main" id="{D2BD00DA-A625-48DF-812B-66C47B197AE9}"/>
              </a:ext>
            </a:extLst>
          </p:cNvPr>
          <p:cNvSpPr>
            <a:spLocks noChangeAspect="1"/>
          </p:cNvSpPr>
          <p:nvPr userDrawn="1"/>
        </p:nvSpPr>
        <p:spPr>
          <a:xfrm>
            <a:off x="10751119" y="6450302"/>
            <a:ext cx="900000" cy="188314"/>
          </a:xfrm>
          <a:custGeom>
            <a:avLst/>
            <a:gdLst>
              <a:gd name="connsiteX0" fmla="*/ 924115 w 6105905"/>
              <a:gd name="connsiteY0" fmla="*/ 1006602 h 1277588"/>
              <a:gd name="connsiteX1" fmla="*/ 132779 w 6105905"/>
              <a:gd name="connsiteY1" fmla="*/ 0 h 1277588"/>
              <a:gd name="connsiteX2" fmla="*/ 0 w 6105905"/>
              <a:gd name="connsiteY2" fmla="*/ 0 h 1277588"/>
              <a:gd name="connsiteX3" fmla="*/ 0 w 6105905"/>
              <a:gd name="connsiteY3" fmla="*/ 1256062 h 1277588"/>
              <a:gd name="connsiteX4" fmla="*/ 138208 w 6105905"/>
              <a:gd name="connsiteY4" fmla="*/ 1256062 h 1277588"/>
              <a:gd name="connsiteX5" fmla="*/ 138208 w 6105905"/>
              <a:gd name="connsiteY5" fmla="*/ 226124 h 1277588"/>
              <a:gd name="connsiteX6" fmla="*/ 949262 w 6105905"/>
              <a:gd name="connsiteY6" fmla="*/ 1256062 h 1277588"/>
              <a:gd name="connsiteX7" fmla="*/ 1062323 w 6105905"/>
              <a:gd name="connsiteY7" fmla="*/ 1256062 h 1277588"/>
              <a:gd name="connsiteX8" fmla="*/ 1062323 w 6105905"/>
              <a:gd name="connsiteY8" fmla="*/ 0 h 1277588"/>
              <a:gd name="connsiteX9" fmla="*/ 924115 w 6105905"/>
              <a:gd name="connsiteY9" fmla="*/ 0 h 1277588"/>
              <a:gd name="connsiteX10" fmla="*/ 924115 w 6105905"/>
              <a:gd name="connsiteY10" fmla="*/ 1006602 h 1277588"/>
              <a:gd name="connsiteX11" fmla="*/ 1785366 w 6105905"/>
              <a:gd name="connsiteY11" fmla="*/ 308610 h 1277588"/>
              <a:gd name="connsiteX12" fmla="*/ 1300925 w 6105905"/>
              <a:gd name="connsiteY12" fmla="*/ 794861 h 1277588"/>
              <a:gd name="connsiteX13" fmla="*/ 1781842 w 6105905"/>
              <a:gd name="connsiteY13" fmla="*/ 1277588 h 1277588"/>
              <a:gd name="connsiteX14" fmla="*/ 2268093 w 6105905"/>
              <a:gd name="connsiteY14" fmla="*/ 791337 h 1277588"/>
              <a:gd name="connsiteX15" fmla="*/ 1785366 w 6105905"/>
              <a:gd name="connsiteY15" fmla="*/ 308610 h 1277588"/>
              <a:gd name="connsiteX16" fmla="*/ 1785366 w 6105905"/>
              <a:gd name="connsiteY16" fmla="*/ 1153763 h 1277588"/>
              <a:gd name="connsiteX17" fmla="*/ 1442657 w 6105905"/>
              <a:gd name="connsiteY17" fmla="*/ 791337 h 1277588"/>
              <a:gd name="connsiteX18" fmla="*/ 1781747 w 6105905"/>
              <a:gd name="connsiteY18" fmla="*/ 430625 h 1277588"/>
              <a:gd name="connsiteX19" fmla="*/ 2126266 w 6105905"/>
              <a:gd name="connsiteY19" fmla="*/ 794861 h 1277588"/>
              <a:gd name="connsiteX20" fmla="*/ 1785366 w 6105905"/>
              <a:gd name="connsiteY20" fmla="*/ 1153763 h 1277588"/>
              <a:gd name="connsiteX21" fmla="*/ 2836831 w 6105905"/>
              <a:gd name="connsiteY21" fmla="*/ 1098137 h 1277588"/>
              <a:gd name="connsiteX22" fmla="*/ 2524601 w 6105905"/>
              <a:gd name="connsiteY22" fmla="*/ 328327 h 1277588"/>
              <a:gd name="connsiteX23" fmla="*/ 2372106 w 6105905"/>
              <a:gd name="connsiteY23" fmla="*/ 328327 h 1277588"/>
              <a:gd name="connsiteX24" fmla="*/ 2774061 w 6105905"/>
              <a:gd name="connsiteY24" fmla="*/ 1263206 h 1277588"/>
              <a:gd name="connsiteX25" fmla="*/ 2896076 w 6105905"/>
              <a:gd name="connsiteY25" fmla="*/ 1263206 h 1277588"/>
              <a:gd name="connsiteX26" fmla="*/ 3299841 w 6105905"/>
              <a:gd name="connsiteY26" fmla="*/ 328327 h 1277588"/>
              <a:gd name="connsiteX27" fmla="*/ 3150870 w 6105905"/>
              <a:gd name="connsiteY27" fmla="*/ 328327 h 1277588"/>
              <a:gd name="connsiteX28" fmla="*/ 2836831 w 6105905"/>
              <a:gd name="connsiteY28" fmla="*/ 1098137 h 1277588"/>
              <a:gd name="connsiteX29" fmla="*/ 3850672 w 6105905"/>
              <a:gd name="connsiteY29" fmla="*/ 308610 h 1277588"/>
              <a:gd name="connsiteX30" fmla="*/ 3405664 w 6105905"/>
              <a:gd name="connsiteY30" fmla="*/ 793052 h 1277588"/>
              <a:gd name="connsiteX31" fmla="*/ 3868579 w 6105905"/>
              <a:gd name="connsiteY31" fmla="*/ 1277493 h 1277588"/>
              <a:gd name="connsiteX32" fmla="*/ 4250817 w 6105905"/>
              <a:gd name="connsiteY32" fmla="*/ 1103471 h 1277588"/>
              <a:gd name="connsiteX33" fmla="*/ 4164711 w 6105905"/>
              <a:gd name="connsiteY33" fmla="*/ 1026319 h 1277588"/>
              <a:gd name="connsiteX34" fmla="*/ 3872198 w 6105905"/>
              <a:gd name="connsiteY34" fmla="*/ 1157288 h 1277588"/>
              <a:gd name="connsiteX35" fmla="*/ 3545586 w 6105905"/>
              <a:gd name="connsiteY35" fmla="*/ 843248 h 1277588"/>
              <a:gd name="connsiteX36" fmla="*/ 4281297 w 6105905"/>
              <a:gd name="connsiteY36" fmla="*/ 843248 h 1277588"/>
              <a:gd name="connsiteX37" fmla="*/ 4283107 w 6105905"/>
              <a:gd name="connsiteY37" fmla="*/ 800195 h 1277588"/>
              <a:gd name="connsiteX38" fmla="*/ 3850672 w 6105905"/>
              <a:gd name="connsiteY38" fmla="*/ 308610 h 1277588"/>
              <a:gd name="connsiteX39" fmla="*/ 3545586 w 6105905"/>
              <a:gd name="connsiteY39" fmla="*/ 741045 h 1277588"/>
              <a:gd name="connsiteX40" fmla="*/ 3847053 w 6105905"/>
              <a:gd name="connsiteY40" fmla="*/ 425196 h 1277588"/>
              <a:gd name="connsiteX41" fmla="*/ 4143089 w 6105905"/>
              <a:gd name="connsiteY41" fmla="*/ 741045 h 1277588"/>
              <a:gd name="connsiteX42" fmla="*/ 3545586 w 6105905"/>
              <a:gd name="connsiteY42" fmla="*/ 741045 h 1277588"/>
              <a:gd name="connsiteX43" fmla="*/ 4537901 w 6105905"/>
              <a:gd name="connsiteY43" fmla="*/ 1256062 h 1277588"/>
              <a:gd name="connsiteX44" fmla="*/ 4676108 w 6105905"/>
              <a:gd name="connsiteY44" fmla="*/ 1256062 h 1277588"/>
              <a:gd name="connsiteX45" fmla="*/ 4676108 w 6105905"/>
              <a:gd name="connsiteY45" fmla="*/ 0 h 1277588"/>
              <a:gd name="connsiteX46" fmla="*/ 4537901 w 6105905"/>
              <a:gd name="connsiteY46" fmla="*/ 0 h 1277588"/>
              <a:gd name="connsiteX47" fmla="*/ 4537901 w 6105905"/>
              <a:gd name="connsiteY47" fmla="*/ 1256062 h 1277588"/>
              <a:gd name="connsiteX48" fmla="*/ 5009769 w 6105905"/>
              <a:gd name="connsiteY48" fmla="*/ 1256062 h 1277588"/>
              <a:gd name="connsiteX49" fmla="*/ 5147977 w 6105905"/>
              <a:gd name="connsiteY49" fmla="*/ 1256062 h 1277588"/>
              <a:gd name="connsiteX50" fmla="*/ 5147977 w 6105905"/>
              <a:gd name="connsiteY50" fmla="*/ 294323 h 1277588"/>
              <a:gd name="connsiteX51" fmla="*/ 5009769 w 6105905"/>
              <a:gd name="connsiteY51" fmla="*/ 294323 h 1277588"/>
              <a:gd name="connsiteX52" fmla="*/ 5009769 w 6105905"/>
              <a:gd name="connsiteY52" fmla="*/ 1256062 h 1277588"/>
              <a:gd name="connsiteX53" fmla="*/ 5808250 w 6105905"/>
              <a:gd name="connsiteY53" fmla="*/ 726758 h 1277588"/>
              <a:gd name="connsiteX54" fmla="*/ 5569649 w 6105905"/>
              <a:gd name="connsiteY54" fmla="*/ 567023 h 1277588"/>
              <a:gd name="connsiteX55" fmla="*/ 5569649 w 6105905"/>
              <a:gd name="connsiteY55" fmla="*/ 563404 h 1277588"/>
              <a:gd name="connsiteX56" fmla="*/ 5749100 w 6105905"/>
              <a:gd name="connsiteY56" fmla="*/ 428816 h 1277588"/>
              <a:gd name="connsiteX57" fmla="*/ 6023610 w 6105905"/>
              <a:gd name="connsiteY57" fmla="*/ 518541 h 1277588"/>
              <a:gd name="connsiteX58" fmla="*/ 6086380 w 6105905"/>
              <a:gd name="connsiteY58" fmla="*/ 414433 h 1277588"/>
              <a:gd name="connsiteX59" fmla="*/ 5752624 w 6105905"/>
              <a:gd name="connsiteY59" fmla="*/ 312134 h 1277588"/>
              <a:gd name="connsiteX60" fmla="*/ 5436775 w 6105905"/>
              <a:gd name="connsiteY60" fmla="*/ 577691 h 1277588"/>
              <a:gd name="connsiteX61" fmla="*/ 5436775 w 6105905"/>
              <a:gd name="connsiteY61" fmla="*/ 581311 h 1277588"/>
              <a:gd name="connsiteX62" fmla="*/ 5743575 w 6105905"/>
              <a:gd name="connsiteY62" fmla="*/ 843248 h 1277588"/>
              <a:gd name="connsiteX63" fmla="*/ 5975033 w 6105905"/>
              <a:gd name="connsiteY63" fmla="*/ 1006507 h 1277588"/>
              <a:gd name="connsiteX64" fmla="*/ 5975033 w 6105905"/>
              <a:gd name="connsiteY64" fmla="*/ 1010126 h 1277588"/>
              <a:gd name="connsiteX65" fmla="*/ 5783009 w 6105905"/>
              <a:gd name="connsiteY65" fmla="*/ 1157288 h 1277588"/>
              <a:gd name="connsiteX66" fmla="*/ 5461826 w 6105905"/>
              <a:gd name="connsiteY66" fmla="*/ 1038892 h 1277588"/>
              <a:gd name="connsiteX67" fmla="*/ 5391817 w 6105905"/>
              <a:gd name="connsiteY67" fmla="*/ 1137571 h 1277588"/>
              <a:gd name="connsiteX68" fmla="*/ 5775770 w 6105905"/>
              <a:gd name="connsiteY68" fmla="*/ 1273969 h 1277588"/>
              <a:gd name="connsiteX69" fmla="*/ 6105906 w 6105905"/>
              <a:gd name="connsiteY69" fmla="*/ 995839 h 1277588"/>
              <a:gd name="connsiteX70" fmla="*/ 6105906 w 6105905"/>
              <a:gd name="connsiteY70" fmla="*/ 992219 h 1277588"/>
              <a:gd name="connsiteX71" fmla="*/ 5808250 w 6105905"/>
              <a:gd name="connsiteY71" fmla="*/ 726758 h 1277588"/>
              <a:gd name="connsiteX72" fmla="*/ 5009769 w 6105905"/>
              <a:gd name="connsiteY72" fmla="*/ 138208 h 1277588"/>
              <a:gd name="connsiteX73" fmla="*/ 5147977 w 6105905"/>
              <a:gd name="connsiteY73" fmla="*/ 138208 h 1277588"/>
              <a:gd name="connsiteX74" fmla="*/ 5147977 w 6105905"/>
              <a:gd name="connsiteY74" fmla="*/ 0 h 1277588"/>
              <a:gd name="connsiteX75" fmla="*/ 5009769 w 6105905"/>
              <a:gd name="connsiteY75" fmla="*/ 0 h 1277588"/>
              <a:gd name="connsiteX76" fmla="*/ 5009769 w 6105905"/>
              <a:gd name="connsiteY76" fmla="*/ 138208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105905" h="1277588">
                <a:moveTo>
                  <a:pt x="924115" y="1006602"/>
                </a:moveTo>
                <a:lnTo>
                  <a:pt x="132779" y="0"/>
                </a:lnTo>
                <a:lnTo>
                  <a:pt x="0" y="0"/>
                </a:lnTo>
                <a:lnTo>
                  <a:pt x="0" y="1256062"/>
                </a:lnTo>
                <a:lnTo>
                  <a:pt x="138208" y="1256062"/>
                </a:lnTo>
                <a:lnTo>
                  <a:pt x="138208" y="226124"/>
                </a:lnTo>
                <a:lnTo>
                  <a:pt x="949262" y="1256062"/>
                </a:lnTo>
                <a:lnTo>
                  <a:pt x="1062323" y="1256062"/>
                </a:lnTo>
                <a:lnTo>
                  <a:pt x="1062323" y="0"/>
                </a:lnTo>
                <a:lnTo>
                  <a:pt x="924115" y="0"/>
                </a:lnTo>
                <a:lnTo>
                  <a:pt x="924115" y="1006602"/>
                </a:lnTo>
                <a:close/>
                <a:moveTo>
                  <a:pt x="1785366" y="308610"/>
                </a:moveTo>
                <a:cubicBezTo>
                  <a:pt x="1505426" y="308610"/>
                  <a:pt x="1300925" y="531114"/>
                  <a:pt x="1300925" y="794861"/>
                </a:cubicBezTo>
                <a:cubicBezTo>
                  <a:pt x="1300925" y="1058609"/>
                  <a:pt x="1503712" y="1277588"/>
                  <a:pt x="1781842" y="1277588"/>
                </a:cubicBezTo>
                <a:cubicBezTo>
                  <a:pt x="2061782" y="1277588"/>
                  <a:pt x="2268093" y="1055084"/>
                  <a:pt x="2268093" y="791337"/>
                </a:cubicBezTo>
                <a:cubicBezTo>
                  <a:pt x="2268093" y="527590"/>
                  <a:pt x="2063496" y="308610"/>
                  <a:pt x="1785366" y="308610"/>
                </a:cubicBezTo>
                <a:close/>
                <a:moveTo>
                  <a:pt x="1785366" y="1153763"/>
                </a:moveTo>
                <a:cubicBezTo>
                  <a:pt x="1589818" y="1153763"/>
                  <a:pt x="1442657" y="992315"/>
                  <a:pt x="1442657" y="791337"/>
                </a:cubicBezTo>
                <a:cubicBezTo>
                  <a:pt x="1442657" y="590360"/>
                  <a:pt x="1580864" y="430625"/>
                  <a:pt x="1781747" y="430625"/>
                </a:cubicBezTo>
                <a:cubicBezTo>
                  <a:pt x="1977295" y="430625"/>
                  <a:pt x="2126266" y="592074"/>
                  <a:pt x="2126266" y="794861"/>
                </a:cubicBezTo>
                <a:cubicBezTo>
                  <a:pt x="2126361" y="994029"/>
                  <a:pt x="1986343" y="1153763"/>
                  <a:pt x="1785366" y="1153763"/>
                </a:cubicBezTo>
                <a:close/>
                <a:moveTo>
                  <a:pt x="2836831" y="1098137"/>
                </a:moveTo>
                <a:lnTo>
                  <a:pt x="2524601" y="328327"/>
                </a:lnTo>
                <a:lnTo>
                  <a:pt x="2372106" y="328327"/>
                </a:lnTo>
                <a:lnTo>
                  <a:pt x="2774061" y="1263206"/>
                </a:lnTo>
                <a:lnTo>
                  <a:pt x="2896076" y="1263206"/>
                </a:lnTo>
                <a:lnTo>
                  <a:pt x="3299841" y="328327"/>
                </a:lnTo>
                <a:lnTo>
                  <a:pt x="3150870" y="328327"/>
                </a:lnTo>
                <a:lnTo>
                  <a:pt x="2836831" y="1098137"/>
                </a:lnTo>
                <a:close/>
                <a:moveTo>
                  <a:pt x="3850672" y="308610"/>
                </a:moveTo>
                <a:cubicBezTo>
                  <a:pt x="3594068" y="308610"/>
                  <a:pt x="3405664" y="523970"/>
                  <a:pt x="3405664" y="793052"/>
                </a:cubicBezTo>
                <a:cubicBezTo>
                  <a:pt x="3405664" y="1081945"/>
                  <a:pt x="3613785" y="1277493"/>
                  <a:pt x="3868579" y="1277493"/>
                </a:cubicBezTo>
                <a:cubicBezTo>
                  <a:pt x="4044410" y="1277493"/>
                  <a:pt x="4157472" y="1207484"/>
                  <a:pt x="4250817" y="1103471"/>
                </a:cubicBezTo>
                <a:lnTo>
                  <a:pt x="4164711" y="1026319"/>
                </a:lnTo>
                <a:cubicBezTo>
                  <a:pt x="4089368" y="1105281"/>
                  <a:pt x="3999643" y="1157288"/>
                  <a:pt x="3872198" y="1157288"/>
                </a:cubicBezTo>
                <a:cubicBezTo>
                  <a:pt x="3708940" y="1157288"/>
                  <a:pt x="3565398" y="1044226"/>
                  <a:pt x="3545586" y="843248"/>
                </a:cubicBezTo>
                <a:lnTo>
                  <a:pt x="4281297" y="843248"/>
                </a:lnTo>
                <a:cubicBezTo>
                  <a:pt x="4283107" y="827056"/>
                  <a:pt x="4283107" y="812768"/>
                  <a:pt x="4283107" y="800195"/>
                </a:cubicBezTo>
                <a:cubicBezTo>
                  <a:pt x="4283107" y="527590"/>
                  <a:pt x="4125182" y="308610"/>
                  <a:pt x="3850672" y="308610"/>
                </a:cubicBezTo>
                <a:close/>
                <a:moveTo>
                  <a:pt x="3545586" y="741045"/>
                </a:moveTo>
                <a:cubicBezTo>
                  <a:pt x="3563493" y="559784"/>
                  <a:pt x="3685508" y="425196"/>
                  <a:pt x="3847053" y="425196"/>
                </a:cubicBezTo>
                <a:cubicBezTo>
                  <a:pt x="4031837" y="425196"/>
                  <a:pt x="4128802" y="572357"/>
                  <a:pt x="4143089" y="741045"/>
                </a:cubicBezTo>
                <a:lnTo>
                  <a:pt x="3545586" y="741045"/>
                </a:lnTo>
                <a:close/>
                <a:moveTo>
                  <a:pt x="4537901" y="1256062"/>
                </a:moveTo>
                <a:lnTo>
                  <a:pt x="4676108" y="1256062"/>
                </a:lnTo>
                <a:lnTo>
                  <a:pt x="4676108" y="0"/>
                </a:lnTo>
                <a:lnTo>
                  <a:pt x="4537901" y="0"/>
                </a:lnTo>
                <a:lnTo>
                  <a:pt x="4537901" y="1256062"/>
                </a:lnTo>
                <a:close/>
                <a:moveTo>
                  <a:pt x="5009769" y="1256062"/>
                </a:moveTo>
                <a:lnTo>
                  <a:pt x="5147977" y="1256062"/>
                </a:lnTo>
                <a:lnTo>
                  <a:pt x="5147977" y="294323"/>
                </a:lnTo>
                <a:lnTo>
                  <a:pt x="5009769" y="294323"/>
                </a:lnTo>
                <a:lnTo>
                  <a:pt x="5009769" y="1256062"/>
                </a:lnTo>
                <a:close/>
                <a:moveTo>
                  <a:pt x="5808250" y="726758"/>
                </a:moveTo>
                <a:cubicBezTo>
                  <a:pt x="5684425" y="689038"/>
                  <a:pt x="5569649" y="654939"/>
                  <a:pt x="5569649" y="567023"/>
                </a:cubicBezTo>
                <a:lnTo>
                  <a:pt x="5569649" y="563404"/>
                </a:lnTo>
                <a:cubicBezTo>
                  <a:pt x="5569649" y="486251"/>
                  <a:pt x="5639658" y="428816"/>
                  <a:pt x="5749100" y="428816"/>
                </a:cubicBezTo>
                <a:cubicBezTo>
                  <a:pt x="5838825" y="428816"/>
                  <a:pt x="5937504" y="462915"/>
                  <a:pt x="6023610" y="518541"/>
                </a:cubicBezTo>
                <a:lnTo>
                  <a:pt x="6086380" y="414433"/>
                </a:lnTo>
                <a:cubicBezTo>
                  <a:pt x="5991321" y="351663"/>
                  <a:pt x="5865686" y="312134"/>
                  <a:pt x="5752624" y="312134"/>
                </a:cubicBezTo>
                <a:cubicBezTo>
                  <a:pt x="5569649" y="312134"/>
                  <a:pt x="5436775" y="417957"/>
                  <a:pt x="5436775" y="577691"/>
                </a:cubicBezTo>
                <a:lnTo>
                  <a:pt x="5436775" y="581311"/>
                </a:lnTo>
                <a:cubicBezTo>
                  <a:pt x="5436775" y="751808"/>
                  <a:pt x="5598224" y="802005"/>
                  <a:pt x="5743575" y="843248"/>
                </a:cubicBezTo>
                <a:cubicBezTo>
                  <a:pt x="5865590" y="877348"/>
                  <a:pt x="5975033" y="913257"/>
                  <a:pt x="5975033" y="1006507"/>
                </a:cubicBezTo>
                <a:lnTo>
                  <a:pt x="5975033" y="1010126"/>
                </a:lnTo>
                <a:cubicBezTo>
                  <a:pt x="5975033" y="1099852"/>
                  <a:pt x="5894261" y="1157288"/>
                  <a:pt x="5783009" y="1157288"/>
                </a:cubicBezTo>
                <a:cubicBezTo>
                  <a:pt x="5673567" y="1157288"/>
                  <a:pt x="5562314" y="1114235"/>
                  <a:pt x="5461826" y="1038892"/>
                </a:cubicBezTo>
                <a:lnTo>
                  <a:pt x="5391817" y="1137571"/>
                </a:lnTo>
                <a:cubicBezTo>
                  <a:pt x="5495925" y="1221867"/>
                  <a:pt x="5642991" y="1273969"/>
                  <a:pt x="5775770" y="1273969"/>
                </a:cubicBezTo>
                <a:cubicBezTo>
                  <a:pt x="5960555" y="1273969"/>
                  <a:pt x="6105906" y="1171670"/>
                  <a:pt x="6105906" y="995839"/>
                </a:cubicBezTo>
                <a:lnTo>
                  <a:pt x="6105906" y="992219"/>
                </a:lnTo>
                <a:cubicBezTo>
                  <a:pt x="6106097" y="825437"/>
                  <a:pt x="5951792" y="769811"/>
                  <a:pt x="5808250" y="726758"/>
                </a:cubicBezTo>
                <a:close/>
                <a:moveTo>
                  <a:pt x="5009769" y="138208"/>
                </a:moveTo>
                <a:lnTo>
                  <a:pt x="5147977" y="138208"/>
                </a:lnTo>
                <a:lnTo>
                  <a:pt x="5147977" y="0"/>
                </a:lnTo>
                <a:lnTo>
                  <a:pt x="5009769" y="0"/>
                </a:lnTo>
                <a:lnTo>
                  <a:pt x="5009769" y="13820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345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13817E-6 -0.03773 L -1.13817E-6 -2.59259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With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6A35FA67-D642-4306-A3A2-0EF1761EC411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gray">
          <a:xfrm>
            <a:off x="1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7FF9827B-0EBC-41FB-B335-B7E10613A683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 bwMode="gray">
          <a:xfrm>
            <a:off x="-1" y="0"/>
            <a:ext cx="5811156" cy="6858000"/>
          </a:xfrm>
          <a:gradFill>
            <a:gsLst>
              <a:gs pos="1770">
                <a:schemeClr val="bg1">
                  <a:alpha val="80000"/>
                </a:schemeClr>
              </a:gs>
              <a:gs pos="54000">
                <a:schemeClr val="bg1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</p:spPr>
        <p:txBody>
          <a:bodyPr lIns="540000" tIns="0" bIns="3132000"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/>
            </a:lvl1pPr>
          </a:lstStyle>
          <a:p>
            <a:pPr lvl="0"/>
            <a:r>
              <a:rPr lang="en-US"/>
              <a:t>Thank you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3F80471-EC70-494F-B621-0154F91B69E5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gray">
          <a:xfrm>
            <a:off x="8770744" y="5854535"/>
            <a:ext cx="2880375" cy="601200"/>
          </a:xfrm>
          <a:blipFill>
            <a:blip r:embed="rId3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15BC915A-ADDF-414D-9D20-493116411A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-1" y="4002042"/>
            <a:ext cx="5040656" cy="0"/>
          </a:xfrm>
          <a:ln w="6350">
            <a:gradFill>
              <a:gsLst>
                <a:gs pos="0">
                  <a:schemeClr val="tx2">
                    <a:alpha val="0"/>
                  </a:schemeClr>
                </a:gs>
                <a:gs pos="100000">
                  <a:schemeClr val="tx2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9" name="Textplatzhalter 37">
            <a:extLst>
              <a:ext uri="{FF2B5EF4-FFF2-40B4-BE49-F238E27FC236}">
                <a16:creationId xmlns:a16="http://schemas.microsoft.com/office/drawing/2014/main" id="{A2B1233F-76BC-4CA0-8DA7-B6B42E53A575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 bwMode="gray">
          <a:xfrm>
            <a:off x="546171" y="5485198"/>
            <a:ext cx="4752619" cy="277200"/>
          </a:xfrm>
        </p:spPr>
        <p:txBody>
          <a:bodyPr tIns="0"/>
          <a:lstStyle>
            <a:lvl1pPr marL="0" indent="0"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/>
              <a:t>www.novelis.com</a:t>
            </a:r>
          </a:p>
        </p:txBody>
      </p:sp>
      <p:sp>
        <p:nvSpPr>
          <p:cNvPr id="51" name="Textplatzhalter 37">
            <a:extLst>
              <a:ext uri="{FF2B5EF4-FFF2-40B4-BE49-F238E27FC236}">
                <a16:creationId xmlns:a16="http://schemas.microsoft.com/office/drawing/2014/main" id="{767C4B5C-15A5-45E9-BD84-8651CFAB94BF}"/>
              </a:ext>
            </a:extLst>
          </p:cNvPr>
          <p:cNvSpPr>
            <a:spLocks noGrp="1" noChangeAspect="1"/>
          </p:cNvSpPr>
          <p:nvPr userDrawn="1">
            <p:ph type="body" sz="quarter" idx="15" hasCustomPrompt="1"/>
          </p:nvPr>
        </p:nvSpPr>
        <p:spPr bwMode="gray">
          <a:xfrm>
            <a:off x="546171" y="5939252"/>
            <a:ext cx="144019" cy="288000"/>
          </a:xfrm>
          <a:blipFill>
            <a:blip r:embed="rId4"/>
            <a:stretch>
              <a:fillRect/>
            </a:stretch>
          </a:blipFill>
        </p:spPr>
        <p:txBody>
          <a:bodyPr tIns="0"/>
          <a:lstStyle>
            <a:lvl1pPr marL="0" indent="0"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2" name="Textplatzhalter 37">
            <a:extLst>
              <a:ext uri="{FF2B5EF4-FFF2-40B4-BE49-F238E27FC236}">
                <a16:creationId xmlns:a16="http://schemas.microsoft.com/office/drawing/2014/main" id="{390B689E-49CF-4552-8697-F9DA07D694BC}"/>
              </a:ext>
            </a:extLst>
          </p:cNvPr>
          <p:cNvSpPr>
            <a:spLocks noGrp="1" noChangeAspect="1"/>
          </p:cNvSpPr>
          <p:nvPr userDrawn="1">
            <p:ph type="body" sz="quarter" idx="16" hasCustomPrompt="1"/>
          </p:nvPr>
        </p:nvSpPr>
        <p:spPr bwMode="gray">
          <a:xfrm>
            <a:off x="958830" y="5946452"/>
            <a:ext cx="295238" cy="280800"/>
          </a:xfrm>
          <a:blipFill>
            <a:blip r:embed="rId5"/>
            <a:stretch>
              <a:fillRect/>
            </a:stretch>
          </a:blipFill>
        </p:spPr>
        <p:txBody>
          <a:bodyPr tIns="0"/>
          <a:lstStyle>
            <a:lvl1pPr marL="0" indent="0"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4" name="Textplatzhalter 37">
            <a:extLst>
              <a:ext uri="{FF2B5EF4-FFF2-40B4-BE49-F238E27FC236}">
                <a16:creationId xmlns:a16="http://schemas.microsoft.com/office/drawing/2014/main" id="{AE855674-67A6-4988-A875-77436ECA60D2}"/>
              </a:ext>
            </a:extLst>
          </p:cNvPr>
          <p:cNvSpPr>
            <a:spLocks noGrp="1" noChangeAspect="1"/>
          </p:cNvSpPr>
          <p:nvPr userDrawn="1">
            <p:ph type="body" sz="quarter" idx="18" hasCustomPrompt="1"/>
          </p:nvPr>
        </p:nvSpPr>
        <p:spPr bwMode="gray">
          <a:xfrm>
            <a:off x="2115390" y="5971652"/>
            <a:ext cx="363647" cy="255600"/>
          </a:xfrm>
          <a:blipFill>
            <a:blip r:embed="rId6"/>
            <a:stretch>
              <a:fillRect/>
            </a:stretch>
          </a:blipFill>
        </p:spPr>
        <p:txBody>
          <a:bodyPr tIns="0"/>
          <a:lstStyle>
            <a:lvl1pPr marL="0" indent="0"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8" name="Textplatzhalter 37">
            <a:extLst>
              <a:ext uri="{FF2B5EF4-FFF2-40B4-BE49-F238E27FC236}">
                <a16:creationId xmlns:a16="http://schemas.microsoft.com/office/drawing/2014/main" id="{1463A8C8-728B-4C2A-B312-3D469C4BC99F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 bwMode="gray">
          <a:xfrm>
            <a:off x="1522708" y="5964452"/>
            <a:ext cx="324042" cy="262800"/>
          </a:xfrm>
          <a:blipFill>
            <a:blip r:embed="rId7"/>
            <a:stretch>
              <a:fillRect/>
            </a:stretch>
          </a:blipFill>
        </p:spPr>
        <p:txBody>
          <a:bodyPr tIns="0"/>
          <a:lstStyle>
            <a:lvl1pPr marL="0" indent="0">
              <a:spcAft>
                <a:spcPts val="0"/>
              </a:spcAft>
              <a:buNone/>
              <a:defRPr sz="2000"/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80" name="Gruppieren 79">
            <a:extLst>
              <a:ext uri="{FF2B5EF4-FFF2-40B4-BE49-F238E27FC236}">
                <a16:creationId xmlns:a16="http://schemas.microsoft.com/office/drawing/2014/main" id="{0899F974-91EE-49FD-A906-001FDBDB81B3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81" name="Hilfslinie">
              <a:extLst>
                <a:ext uri="{FF2B5EF4-FFF2-40B4-BE49-F238E27FC236}">
                  <a16:creationId xmlns:a16="http://schemas.microsoft.com/office/drawing/2014/main" id="{AC00DBD0-A0A0-4B22-A8AB-0C6C3DB7D9C0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94" name="Line">
                <a:extLst>
                  <a:ext uri="{FF2B5EF4-FFF2-40B4-BE49-F238E27FC236}">
                    <a16:creationId xmlns:a16="http://schemas.microsoft.com/office/drawing/2014/main" id="{7DF6D262-A5D3-4969-AB06-6FD8CB05A816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5" name="Text">
                <a:extLst>
                  <a:ext uri="{FF2B5EF4-FFF2-40B4-BE49-F238E27FC236}">
                    <a16:creationId xmlns:a16="http://schemas.microsoft.com/office/drawing/2014/main" id="{A945A81A-E0AA-498E-A302-FE07D1EF1BDD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82" name="Hilfslinie">
              <a:extLst>
                <a:ext uri="{FF2B5EF4-FFF2-40B4-BE49-F238E27FC236}">
                  <a16:creationId xmlns:a16="http://schemas.microsoft.com/office/drawing/2014/main" id="{FCBE4A22-68F6-47E3-B018-5E9AE743B250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92" name="Line">
                <a:extLst>
                  <a:ext uri="{FF2B5EF4-FFF2-40B4-BE49-F238E27FC236}">
                    <a16:creationId xmlns:a16="http://schemas.microsoft.com/office/drawing/2014/main" id="{FCD750D7-39D2-4B86-9878-D5908931D3A0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Text">
                <a:extLst>
                  <a:ext uri="{FF2B5EF4-FFF2-40B4-BE49-F238E27FC236}">
                    <a16:creationId xmlns:a16="http://schemas.microsoft.com/office/drawing/2014/main" id="{0451418D-C5F4-44EC-9FB0-B947E4E47432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83" name="Hilfslinie">
              <a:extLst>
                <a:ext uri="{FF2B5EF4-FFF2-40B4-BE49-F238E27FC236}">
                  <a16:creationId xmlns:a16="http://schemas.microsoft.com/office/drawing/2014/main" id="{EC8C4526-2900-4AEE-A4B9-30E6512D5855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90" name="Line">
                <a:extLst>
                  <a:ext uri="{FF2B5EF4-FFF2-40B4-BE49-F238E27FC236}">
                    <a16:creationId xmlns:a16="http://schemas.microsoft.com/office/drawing/2014/main" id="{251E15E9-DBAB-44CF-B249-2E92AD4DEB28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1" name="Text">
                <a:extLst>
                  <a:ext uri="{FF2B5EF4-FFF2-40B4-BE49-F238E27FC236}">
                    <a16:creationId xmlns:a16="http://schemas.microsoft.com/office/drawing/2014/main" id="{A712DFFC-0009-4FB6-A507-1623E6EAA5E3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84" name="Hilfslinie">
              <a:extLst>
                <a:ext uri="{FF2B5EF4-FFF2-40B4-BE49-F238E27FC236}">
                  <a16:creationId xmlns:a16="http://schemas.microsoft.com/office/drawing/2014/main" id="{A764793E-37E5-4587-BC2E-D7B3D74B55BA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88" name="Line">
                <a:extLst>
                  <a:ext uri="{FF2B5EF4-FFF2-40B4-BE49-F238E27FC236}">
                    <a16:creationId xmlns:a16="http://schemas.microsoft.com/office/drawing/2014/main" id="{6ACC06DF-08F9-4CFA-98D7-A54AC834EBF7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9" name="Text">
                <a:extLst>
                  <a:ext uri="{FF2B5EF4-FFF2-40B4-BE49-F238E27FC236}">
                    <a16:creationId xmlns:a16="http://schemas.microsoft.com/office/drawing/2014/main" id="{4CA357E8-D556-44F9-AF34-DBF84463DC0D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85" name="Hilfslinie">
              <a:extLst>
                <a:ext uri="{FF2B5EF4-FFF2-40B4-BE49-F238E27FC236}">
                  <a16:creationId xmlns:a16="http://schemas.microsoft.com/office/drawing/2014/main" id="{61F5457E-85D2-4511-A946-B5A6E33533AA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86" name="Line">
                <a:extLst>
                  <a:ext uri="{FF2B5EF4-FFF2-40B4-BE49-F238E27FC236}">
                    <a16:creationId xmlns:a16="http://schemas.microsoft.com/office/drawing/2014/main" id="{46B40844-791B-40B9-89CA-04522978FBDE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Text">
                <a:extLst>
                  <a:ext uri="{FF2B5EF4-FFF2-40B4-BE49-F238E27FC236}">
                    <a16:creationId xmlns:a16="http://schemas.microsoft.com/office/drawing/2014/main" id="{0EA32B33-F5E3-44D3-B450-B582B0A340B7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grpSp>
        <p:nvGrpSpPr>
          <p:cNvPr id="27" name="Gruppieren 1">
            <a:extLst>
              <a:ext uri="{FF2B5EF4-FFF2-40B4-BE49-F238E27FC236}">
                <a16:creationId xmlns:a16="http://schemas.microsoft.com/office/drawing/2014/main" id="{D2E0866D-EF1E-4FCC-AAB7-DE93AC05ACA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2668296"/>
            <a:chOff x="12427519" y="121759"/>
            <a:chExt cx="2016001" cy="2668296"/>
          </a:xfrm>
        </p:grpSpPr>
        <p:sp>
          <p:nvSpPr>
            <p:cNvPr id="28" name="Textfeld 22">
              <a:extLst>
                <a:ext uri="{FF2B5EF4-FFF2-40B4-BE49-F238E27FC236}">
                  <a16:creationId xmlns:a16="http://schemas.microsoft.com/office/drawing/2014/main" id="{9869F202-E60B-424C-BC46-A66B19D22522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2250222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29" name="Gruppieren 23">
              <a:extLst>
                <a:ext uri="{FF2B5EF4-FFF2-40B4-BE49-F238E27FC236}">
                  <a16:creationId xmlns:a16="http://schemas.microsoft.com/office/drawing/2014/main" id="{0CD0798B-37A0-4AF9-A764-FD5A85A7103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32" name="Freihandform: Form 24">
                <a:extLst>
                  <a:ext uri="{FF2B5EF4-FFF2-40B4-BE49-F238E27FC236}">
                    <a16:creationId xmlns:a16="http://schemas.microsoft.com/office/drawing/2014/main" id="{817A475C-8F8B-437E-94F2-AB1AFDD29B72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33" name="Gruppieren 25">
                <a:extLst>
                  <a:ext uri="{FF2B5EF4-FFF2-40B4-BE49-F238E27FC236}">
                    <a16:creationId xmlns:a16="http://schemas.microsoft.com/office/drawing/2014/main" id="{DD6D4043-F11D-431D-A886-3512F7C60135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34" name="Gerader Verbinder 26">
                  <a:extLst>
                    <a:ext uri="{FF2B5EF4-FFF2-40B4-BE49-F238E27FC236}">
                      <a16:creationId xmlns:a16="http://schemas.microsoft.com/office/drawing/2014/main" id="{3F857F61-E036-4897-AF3A-E6797AB0AB5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6" name="Gerader Verbinder 27">
                  <a:extLst>
                    <a:ext uri="{FF2B5EF4-FFF2-40B4-BE49-F238E27FC236}">
                      <a16:creationId xmlns:a16="http://schemas.microsoft.com/office/drawing/2014/main" id="{D510CF67-934F-4FDD-B129-410B7A8743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7" name="Gerader Verbinder 28">
                  <a:extLst>
                    <a:ext uri="{FF2B5EF4-FFF2-40B4-BE49-F238E27FC236}">
                      <a16:creationId xmlns:a16="http://schemas.microsoft.com/office/drawing/2014/main" id="{65C75C67-23E7-4AA3-8E7E-A8596B4ACD5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8" name="Gerader Verbinder 29">
                  <a:extLst>
                    <a:ext uri="{FF2B5EF4-FFF2-40B4-BE49-F238E27FC236}">
                      <a16:creationId xmlns:a16="http://schemas.microsoft.com/office/drawing/2014/main" id="{F1728452-435B-45B8-9AA8-109FCD667C6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30" name="Gerader Verbinder 31">
              <a:extLst>
                <a:ext uri="{FF2B5EF4-FFF2-40B4-BE49-F238E27FC236}">
                  <a16:creationId xmlns:a16="http://schemas.microsoft.com/office/drawing/2014/main" id="{74833D88-9E21-4B40-99BA-322C575B1DB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695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0" fill="hold"/>
                                        <p:tgtEl>
                                          <p:spTgt spid="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3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1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8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30">
            <a:extLst>
              <a:ext uri="{FF2B5EF4-FFF2-40B4-BE49-F238E27FC236}">
                <a16:creationId xmlns:a16="http://schemas.microsoft.com/office/drawing/2014/main" id="{2189011B-9313-4C78-BBD9-C9235D694D43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 bwMode="ltGray">
          <a:xfrm>
            <a:off x="0" y="0"/>
            <a:ext cx="5811156" cy="6858000"/>
          </a:xfrm>
          <a:noFill/>
        </p:spPr>
        <p:txBody>
          <a:bodyPr lIns="540000" tIns="0" bIns="3132000"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Thank you.</a:t>
            </a:r>
          </a:p>
        </p:txBody>
      </p:sp>
      <p:sp>
        <p:nvSpPr>
          <p:cNvPr id="21" name="Textplatzhalter 33">
            <a:extLst>
              <a:ext uri="{FF2B5EF4-FFF2-40B4-BE49-F238E27FC236}">
                <a16:creationId xmlns:a16="http://schemas.microsoft.com/office/drawing/2014/main" id="{EC1635B3-5275-453E-AB66-71811EE38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1" y="4002042"/>
            <a:ext cx="5040656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4" name="Grafik 32">
            <a:extLst>
              <a:ext uri="{FF2B5EF4-FFF2-40B4-BE49-F238E27FC236}">
                <a16:creationId xmlns:a16="http://schemas.microsoft.com/office/drawing/2014/main" id="{97108177-AA1C-472D-AD76-2BB4354825AA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8770744" y="5853135"/>
            <a:ext cx="2880375" cy="602600"/>
          </a:xfrm>
          <a:custGeom>
            <a:avLst/>
            <a:gdLst>
              <a:gd name="connsiteX0" fmla="*/ 924115 w 6105905"/>
              <a:gd name="connsiteY0" fmla="*/ 1006602 h 1277588"/>
              <a:gd name="connsiteX1" fmla="*/ 132779 w 6105905"/>
              <a:gd name="connsiteY1" fmla="*/ 0 h 1277588"/>
              <a:gd name="connsiteX2" fmla="*/ 0 w 6105905"/>
              <a:gd name="connsiteY2" fmla="*/ 0 h 1277588"/>
              <a:gd name="connsiteX3" fmla="*/ 0 w 6105905"/>
              <a:gd name="connsiteY3" fmla="*/ 1256062 h 1277588"/>
              <a:gd name="connsiteX4" fmla="*/ 138208 w 6105905"/>
              <a:gd name="connsiteY4" fmla="*/ 1256062 h 1277588"/>
              <a:gd name="connsiteX5" fmla="*/ 138208 w 6105905"/>
              <a:gd name="connsiteY5" fmla="*/ 226124 h 1277588"/>
              <a:gd name="connsiteX6" fmla="*/ 949262 w 6105905"/>
              <a:gd name="connsiteY6" fmla="*/ 1256062 h 1277588"/>
              <a:gd name="connsiteX7" fmla="*/ 1062323 w 6105905"/>
              <a:gd name="connsiteY7" fmla="*/ 1256062 h 1277588"/>
              <a:gd name="connsiteX8" fmla="*/ 1062323 w 6105905"/>
              <a:gd name="connsiteY8" fmla="*/ 0 h 1277588"/>
              <a:gd name="connsiteX9" fmla="*/ 924115 w 6105905"/>
              <a:gd name="connsiteY9" fmla="*/ 0 h 1277588"/>
              <a:gd name="connsiteX10" fmla="*/ 924115 w 6105905"/>
              <a:gd name="connsiteY10" fmla="*/ 1006602 h 1277588"/>
              <a:gd name="connsiteX11" fmla="*/ 1785366 w 6105905"/>
              <a:gd name="connsiteY11" fmla="*/ 308610 h 1277588"/>
              <a:gd name="connsiteX12" fmla="*/ 1300925 w 6105905"/>
              <a:gd name="connsiteY12" fmla="*/ 794861 h 1277588"/>
              <a:gd name="connsiteX13" fmla="*/ 1781842 w 6105905"/>
              <a:gd name="connsiteY13" fmla="*/ 1277588 h 1277588"/>
              <a:gd name="connsiteX14" fmla="*/ 2268093 w 6105905"/>
              <a:gd name="connsiteY14" fmla="*/ 791337 h 1277588"/>
              <a:gd name="connsiteX15" fmla="*/ 1785366 w 6105905"/>
              <a:gd name="connsiteY15" fmla="*/ 308610 h 1277588"/>
              <a:gd name="connsiteX16" fmla="*/ 1785366 w 6105905"/>
              <a:gd name="connsiteY16" fmla="*/ 1153763 h 1277588"/>
              <a:gd name="connsiteX17" fmla="*/ 1442657 w 6105905"/>
              <a:gd name="connsiteY17" fmla="*/ 791337 h 1277588"/>
              <a:gd name="connsiteX18" fmla="*/ 1781747 w 6105905"/>
              <a:gd name="connsiteY18" fmla="*/ 430625 h 1277588"/>
              <a:gd name="connsiteX19" fmla="*/ 2126266 w 6105905"/>
              <a:gd name="connsiteY19" fmla="*/ 794861 h 1277588"/>
              <a:gd name="connsiteX20" fmla="*/ 1785366 w 6105905"/>
              <a:gd name="connsiteY20" fmla="*/ 1153763 h 1277588"/>
              <a:gd name="connsiteX21" fmla="*/ 2836831 w 6105905"/>
              <a:gd name="connsiteY21" fmla="*/ 1098137 h 1277588"/>
              <a:gd name="connsiteX22" fmla="*/ 2524601 w 6105905"/>
              <a:gd name="connsiteY22" fmla="*/ 328327 h 1277588"/>
              <a:gd name="connsiteX23" fmla="*/ 2372106 w 6105905"/>
              <a:gd name="connsiteY23" fmla="*/ 328327 h 1277588"/>
              <a:gd name="connsiteX24" fmla="*/ 2774061 w 6105905"/>
              <a:gd name="connsiteY24" fmla="*/ 1263206 h 1277588"/>
              <a:gd name="connsiteX25" fmla="*/ 2896076 w 6105905"/>
              <a:gd name="connsiteY25" fmla="*/ 1263206 h 1277588"/>
              <a:gd name="connsiteX26" fmla="*/ 3299841 w 6105905"/>
              <a:gd name="connsiteY26" fmla="*/ 328327 h 1277588"/>
              <a:gd name="connsiteX27" fmla="*/ 3150870 w 6105905"/>
              <a:gd name="connsiteY27" fmla="*/ 328327 h 1277588"/>
              <a:gd name="connsiteX28" fmla="*/ 2836831 w 6105905"/>
              <a:gd name="connsiteY28" fmla="*/ 1098137 h 1277588"/>
              <a:gd name="connsiteX29" fmla="*/ 3850672 w 6105905"/>
              <a:gd name="connsiteY29" fmla="*/ 308610 h 1277588"/>
              <a:gd name="connsiteX30" fmla="*/ 3405664 w 6105905"/>
              <a:gd name="connsiteY30" fmla="*/ 793052 h 1277588"/>
              <a:gd name="connsiteX31" fmla="*/ 3868579 w 6105905"/>
              <a:gd name="connsiteY31" fmla="*/ 1277493 h 1277588"/>
              <a:gd name="connsiteX32" fmla="*/ 4250817 w 6105905"/>
              <a:gd name="connsiteY32" fmla="*/ 1103471 h 1277588"/>
              <a:gd name="connsiteX33" fmla="*/ 4164711 w 6105905"/>
              <a:gd name="connsiteY33" fmla="*/ 1026319 h 1277588"/>
              <a:gd name="connsiteX34" fmla="*/ 3872198 w 6105905"/>
              <a:gd name="connsiteY34" fmla="*/ 1157288 h 1277588"/>
              <a:gd name="connsiteX35" fmla="*/ 3545586 w 6105905"/>
              <a:gd name="connsiteY35" fmla="*/ 843248 h 1277588"/>
              <a:gd name="connsiteX36" fmla="*/ 4281297 w 6105905"/>
              <a:gd name="connsiteY36" fmla="*/ 843248 h 1277588"/>
              <a:gd name="connsiteX37" fmla="*/ 4283107 w 6105905"/>
              <a:gd name="connsiteY37" fmla="*/ 800195 h 1277588"/>
              <a:gd name="connsiteX38" fmla="*/ 3850672 w 6105905"/>
              <a:gd name="connsiteY38" fmla="*/ 308610 h 1277588"/>
              <a:gd name="connsiteX39" fmla="*/ 3545586 w 6105905"/>
              <a:gd name="connsiteY39" fmla="*/ 741045 h 1277588"/>
              <a:gd name="connsiteX40" fmla="*/ 3847053 w 6105905"/>
              <a:gd name="connsiteY40" fmla="*/ 425196 h 1277588"/>
              <a:gd name="connsiteX41" fmla="*/ 4143089 w 6105905"/>
              <a:gd name="connsiteY41" fmla="*/ 741045 h 1277588"/>
              <a:gd name="connsiteX42" fmla="*/ 3545586 w 6105905"/>
              <a:gd name="connsiteY42" fmla="*/ 741045 h 1277588"/>
              <a:gd name="connsiteX43" fmla="*/ 4537901 w 6105905"/>
              <a:gd name="connsiteY43" fmla="*/ 1256062 h 1277588"/>
              <a:gd name="connsiteX44" fmla="*/ 4676108 w 6105905"/>
              <a:gd name="connsiteY44" fmla="*/ 1256062 h 1277588"/>
              <a:gd name="connsiteX45" fmla="*/ 4676108 w 6105905"/>
              <a:gd name="connsiteY45" fmla="*/ 0 h 1277588"/>
              <a:gd name="connsiteX46" fmla="*/ 4537901 w 6105905"/>
              <a:gd name="connsiteY46" fmla="*/ 0 h 1277588"/>
              <a:gd name="connsiteX47" fmla="*/ 4537901 w 6105905"/>
              <a:gd name="connsiteY47" fmla="*/ 1256062 h 1277588"/>
              <a:gd name="connsiteX48" fmla="*/ 5009769 w 6105905"/>
              <a:gd name="connsiteY48" fmla="*/ 1256062 h 1277588"/>
              <a:gd name="connsiteX49" fmla="*/ 5147977 w 6105905"/>
              <a:gd name="connsiteY49" fmla="*/ 1256062 h 1277588"/>
              <a:gd name="connsiteX50" fmla="*/ 5147977 w 6105905"/>
              <a:gd name="connsiteY50" fmla="*/ 294323 h 1277588"/>
              <a:gd name="connsiteX51" fmla="*/ 5009769 w 6105905"/>
              <a:gd name="connsiteY51" fmla="*/ 294323 h 1277588"/>
              <a:gd name="connsiteX52" fmla="*/ 5009769 w 6105905"/>
              <a:gd name="connsiteY52" fmla="*/ 1256062 h 1277588"/>
              <a:gd name="connsiteX53" fmla="*/ 5808250 w 6105905"/>
              <a:gd name="connsiteY53" fmla="*/ 726758 h 1277588"/>
              <a:gd name="connsiteX54" fmla="*/ 5569649 w 6105905"/>
              <a:gd name="connsiteY54" fmla="*/ 567023 h 1277588"/>
              <a:gd name="connsiteX55" fmla="*/ 5569649 w 6105905"/>
              <a:gd name="connsiteY55" fmla="*/ 563404 h 1277588"/>
              <a:gd name="connsiteX56" fmla="*/ 5749100 w 6105905"/>
              <a:gd name="connsiteY56" fmla="*/ 428816 h 1277588"/>
              <a:gd name="connsiteX57" fmla="*/ 6023610 w 6105905"/>
              <a:gd name="connsiteY57" fmla="*/ 518541 h 1277588"/>
              <a:gd name="connsiteX58" fmla="*/ 6086380 w 6105905"/>
              <a:gd name="connsiteY58" fmla="*/ 414433 h 1277588"/>
              <a:gd name="connsiteX59" fmla="*/ 5752624 w 6105905"/>
              <a:gd name="connsiteY59" fmla="*/ 312134 h 1277588"/>
              <a:gd name="connsiteX60" fmla="*/ 5436775 w 6105905"/>
              <a:gd name="connsiteY60" fmla="*/ 577691 h 1277588"/>
              <a:gd name="connsiteX61" fmla="*/ 5436775 w 6105905"/>
              <a:gd name="connsiteY61" fmla="*/ 581311 h 1277588"/>
              <a:gd name="connsiteX62" fmla="*/ 5743575 w 6105905"/>
              <a:gd name="connsiteY62" fmla="*/ 843248 h 1277588"/>
              <a:gd name="connsiteX63" fmla="*/ 5975033 w 6105905"/>
              <a:gd name="connsiteY63" fmla="*/ 1006507 h 1277588"/>
              <a:gd name="connsiteX64" fmla="*/ 5975033 w 6105905"/>
              <a:gd name="connsiteY64" fmla="*/ 1010126 h 1277588"/>
              <a:gd name="connsiteX65" fmla="*/ 5783009 w 6105905"/>
              <a:gd name="connsiteY65" fmla="*/ 1157288 h 1277588"/>
              <a:gd name="connsiteX66" fmla="*/ 5461826 w 6105905"/>
              <a:gd name="connsiteY66" fmla="*/ 1038892 h 1277588"/>
              <a:gd name="connsiteX67" fmla="*/ 5391817 w 6105905"/>
              <a:gd name="connsiteY67" fmla="*/ 1137571 h 1277588"/>
              <a:gd name="connsiteX68" fmla="*/ 5775770 w 6105905"/>
              <a:gd name="connsiteY68" fmla="*/ 1273969 h 1277588"/>
              <a:gd name="connsiteX69" fmla="*/ 6105906 w 6105905"/>
              <a:gd name="connsiteY69" fmla="*/ 995839 h 1277588"/>
              <a:gd name="connsiteX70" fmla="*/ 6105906 w 6105905"/>
              <a:gd name="connsiteY70" fmla="*/ 992219 h 1277588"/>
              <a:gd name="connsiteX71" fmla="*/ 5808250 w 6105905"/>
              <a:gd name="connsiteY71" fmla="*/ 726758 h 1277588"/>
              <a:gd name="connsiteX72" fmla="*/ 5009769 w 6105905"/>
              <a:gd name="connsiteY72" fmla="*/ 138208 h 1277588"/>
              <a:gd name="connsiteX73" fmla="*/ 5147977 w 6105905"/>
              <a:gd name="connsiteY73" fmla="*/ 138208 h 1277588"/>
              <a:gd name="connsiteX74" fmla="*/ 5147977 w 6105905"/>
              <a:gd name="connsiteY74" fmla="*/ 0 h 1277588"/>
              <a:gd name="connsiteX75" fmla="*/ 5009769 w 6105905"/>
              <a:gd name="connsiteY75" fmla="*/ 0 h 1277588"/>
              <a:gd name="connsiteX76" fmla="*/ 5009769 w 6105905"/>
              <a:gd name="connsiteY76" fmla="*/ 138208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105905" h="1277588">
                <a:moveTo>
                  <a:pt x="924115" y="1006602"/>
                </a:moveTo>
                <a:lnTo>
                  <a:pt x="132779" y="0"/>
                </a:lnTo>
                <a:lnTo>
                  <a:pt x="0" y="0"/>
                </a:lnTo>
                <a:lnTo>
                  <a:pt x="0" y="1256062"/>
                </a:lnTo>
                <a:lnTo>
                  <a:pt x="138208" y="1256062"/>
                </a:lnTo>
                <a:lnTo>
                  <a:pt x="138208" y="226124"/>
                </a:lnTo>
                <a:lnTo>
                  <a:pt x="949262" y="1256062"/>
                </a:lnTo>
                <a:lnTo>
                  <a:pt x="1062323" y="1256062"/>
                </a:lnTo>
                <a:lnTo>
                  <a:pt x="1062323" y="0"/>
                </a:lnTo>
                <a:lnTo>
                  <a:pt x="924115" y="0"/>
                </a:lnTo>
                <a:lnTo>
                  <a:pt x="924115" y="1006602"/>
                </a:lnTo>
                <a:close/>
                <a:moveTo>
                  <a:pt x="1785366" y="308610"/>
                </a:moveTo>
                <a:cubicBezTo>
                  <a:pt x="1505426" y="308610"/>
                  <a:pt x="1300925" y="531114"/>
                  <a:pt x="1300925" y="794861"/>
                </a:cubicBezTo>
                <a:cubicBezTo>
                  <a:pt x="1300925" y="1058609"/>
                  <a:pt x="1503712" y="1277588"/>
                  <a:pt x="1781842" y="1277588"/>
                </a:cubicBezTo>
                <a:cubicBezTo>
                  <a:pt x="2061782" y="1277588"/>
                  <a:pt x="2268093" y="1055084"/>
                  <a:pt x="2268093" y="791337"/>
                </a:cubicBezTo>
                <a:cubicBezTo>
                  <a:pt x="2268093" y="527590"/>
                  <a:pt x="2063496" y="308610"/>
                  <a:pt x="1785366" y="308610"/>
                </a:cubicBezTo>
                <a:close/>
                <a:moveTo>
                  <a:pt x="1785366" y="1153763"/>
                </a:moveTo>
                <a:cubicBezTo>
                  <a:pt x="1589818" y="1153763"/>
                  <a:pt x="1442657" y="992315"/>
                  <a:pt x="1442657" y="791337"/>
                </a:cubicBezTo>
                <a:cubicBezTo>
                  <a:pt x="1442657" y="590360"/>
                  <a:pt x="1580864" y="430625"/>
                  <a:pt x="1781747" y="430625"/>
                </a:cubicBezTo>
                <a:cubicBezTo>
                  <a:pt x="1977295" y="430625"/>
                  <a:pt x="2126266" y="592074"/>
                  <a:pt x="2126266" y="794861"/>
                </a:cubicBezTo>
                <a:cubicBezTo>
                  <a:pt x="2126361" y="994029"/>
                  <a:pt x="1986343" y="1153763"/>
                  <a:pt x="1785366" y="1153763"/>
                </a:cubicBezTo>
                <a:close/>
                <a:moveTo>
                  <a:pt x="2836831" y="1098137"/>
                </a:moveTo>
                <a:lnTo>
                  <a:pt x="2524601" y="328327"/>
                </a:lnTo>
                <a:lnTo>
                  <a:pt x="2372106" y="328327"/>
                </a:lnTo>
                <a:lnTo>
                  <a:pt x="2774061" y="1263206"/>
                </a:lnTo>
                <a:lnTo>
                  <a:pt x="2896076" y="1263206"/>
                </a:lnTo>
                <a:lnTo>
                  <a:pt x="3299841" y="328327"/>
                </a:lnTo>
                <a:lnTo>
                  <a:pt x="3150870" y="328327"/>
                </a:lnTo>
                <a:lnTo>
                  <a:pt x="2836831" y="1098137"/>
                </a:lnTo>
                <a:close/>
                <a:moveTo>
                  <a:pt x="3850672" y="308610"/>
                </a:moveTo>
                <a:cubicBezTo>
                  <a:pt x="3594068" y="308610"/>
                  <a:pt x="3405664" y="523970"/>
                  <a:pt x="3405664" y="793052"/>
                </a:cubicBezTo>
                <a:cubicBezTo>
                  <a:pt x="3405664" y="1081945"/>
                  <a:pt x="3613785" y="1277493"/>
                  <a:pt x="3868579" y="1277493"/>
                </a:cubicBezTo>
                <a:cubicBezTo>
                  <a:pt x="4044410" y="1277493"/>
                  <a:pt x="4157472" y="1207484"/>
                  <a:pt x="4250817" y="1103471"/>
                </a:cubicBezTo>
                <a:lnTo>
                  <a:pt x="4164711" y="1026319"/>
                </a:lnTo>
                <a:cubicBezTo>
                  <a:pt x="4089368" y="1105281"/>
                  <a:pt x="3999643" y="1157288"/>
                  <a:pt x="3872198" y="1157288"/>
                </a:cubicBezTo>
                <a:cubicBezTo>
                  <a:pt x="3708940" y="1157288"/>
                  <a:pt x="3565398" y="1044226"/>
                  <a:pt x="3545586" y="843248"/>
                </a:cubicBezTo>
                <a:lnTo>
                  <a:pt x="4281297" y="843248"/>
                </a:lnTo>
                <a:cubicBezTo>
                  <a:pt x="4283107" y="827056"/>
                  <a:pt x="4283107" y="812768"/>
                  <a:pt x="4283107" y="800195"/>
                </a:cubicBezTo>
                <a:cubicBezTo>
                  <a:pt x="4283107" y="527590"/>
                  <a:pt x="4125182" y="308610"/>
                  <a:pt x="3850672" y="308610"/>
                </a:cubicBezTo>
                <a:close/>
                <a:moveTo>
                  <a:pt x="3545586" y="741045"/>
                </a:moveTo>
                <a:cubicBezTo>
                  <a:pt x="3563493" y="559784"/>
                  <a:pt x="3685508" y="425196"/>
                  <a:pt x="3847053" y="425196"/>
                </a:cubicBezTo>
                <a:cubicBezTo>
                  <a:pt x="4031837" y="425196"/>
                  <a:pt x="4128802" y="572357"/>
                  <a:pt x="4143089" y="741045"/>
                </a:cubicBezTo>
                <a:lnTo>
                  <a:pt x="3545586" y="741045"/>
                </a:lnTo>
                <a:close/>
                <a:moveTo>
                  <a:pt x="4537901" y="1256062"/>
                </a:moveTo>
                <a:lnTo>
                  <a:pt x="4676108" y="1256062"/>
                </a:lnTo>
                <a:lnTo>
                  <a:pt x="4676108" y="0"/>
                </a:lnTo>
                <a:lnTo>
                  <a:pt x="4537901" y="0"/>
                </a:lnTo>
                <a:lnTo>
                  <a:pt x="4537901" y="1256062"/>
                </a:lnTo>
                <a:close/>
                <a:moveTo>
                  <a:pt x="5009769" y="1256062"/>
                </a:moveTo>
                <a:lnTo>
                  <a:pt x="5147977" y="1256062"/>
                </a:lnTo>
                <a:lnTo>
                  <a:pt x="5147977" y="294323"/>
                </a:lnTo>
                <a:lnTo>
                  <a:pt x="5009769" y="294323"/>
                </a:lnTo>
                <a:lnTo>
                  <a:pt x="5009769" y="1256062"/>
                </a:lnTo>
                <a:close/>
                <a:moveTo>
                  <a:pt x="5808250" y="726758"/>
                </a:moveTo>
                <a:cubicBezTo>
                  <a:pt x="5684425" y="689038"/>
                  <a:pt x="5569649" y="654939"/>
                  <a:pt x="5569649" y="567023"/>
                </a:cubicBezTo>
                <a:lnTo>
                  <a:pt x="5569649" y="563404"/>
                </a:lnTo>
                <a:cubicBezTo>
                  <a:pt x="5569649" y="486251"/>
                  <a:pt x="5639658" y="428816"/>
                  <a:pt x="5749100" y="428816"/>
                </a:cubicBezTo>
                <a:cubicBezTo>
                  <a:pt x="5838825" y="428816"/>
                  <a:pt x="5937504" y="462915"/>
                  <a:pt x="6023610" y="518541"/>
                </a:cubicBezTo>
                <a:lnTo>
                  <a:pt x="6086380" y="414433"/>
                </a:lnTo>
                <a:cubicBezTo>
                  <a:pt x="5991321" y="351663"/>
                  <a:pt x="5865686" y="312134"/>
                  <a:pt x="5752624" y="312134"/>
                </a:cubicBezTo>
                <a:cubicBezTo>
                  <a:pt x="5569649" y="312134"/>
                  <a:pt x="5436775" y="417957"/>
                  <a:pt x="5436775" y="577691"/>
                </a:cubicBezTo>
                <a:lnTo>
                  <a:pt x="5436775" y="581311"/>
                </a:lnTo>
                <a:cubicBezTo>
                  <a:pt x="5436775" y="751808"/>
                  <a:pt x="5598224" y="802005"/>
                  <a:pt x="5743575" y="843248"/>
                </a:cubicBezTo>
                <a:cubicBezTo>
                  <a:pt x="5865590" y="877348"/>
                  <a:pt x="5975033" y="913257"/>
                  <a:pt x="5975033" y="1006507"/>
                </a:cubicBezTo>
                <a:lnTo>
                  <a:pt x="5975033" y="1010126"/>
                </a:lnTo>
                <a:cubicBezTo>
                  <a:pt x="5975033" y="1099852"/>
                  <a:pt x="5894261" y="1157288"/>
                  <a:pt x="5783009" y="1157288"/>
                </a:cubicBezTo>
                <a:cubicBezTo>
                  <a:pt x="5673567" y="1157288"/>
                  <a:pt x="5562314" y="1114235"/>
                  <a:pt x="5461826" y="1038892"/>
                </a:cubicBezTo>
                <a:lnTo>
                  <a:pt x="5391817" y="1137571"/>
                </a:lnTo>
                <a:cubicBezTo>
                  <a:pt x="5495925" y="1221867"/>
                  <a:pt x="5642991" y="1273969"/>
                  <a:pt x="5775770" y="1273969"/>
                </a:cubicBezTo>
                <a:cubicBezTo>
                  <a:pt x="5960555" y="1273969"/>
                  <a:pt x="6105906" y="1171670"/>
                  <a:pt x="6105906" y="995839"/>
                </a:cubicBezTo>
                <a:lnTo>
                  <a:pt x="6105906" y="992219"/>
                </a:lnTo>
                <a:cubicBezTo>
                  <a:pt x="6106097" y="825437"/>
                  <a:pt x="5951792" y="769811"/>
                  <a:pt x="5808250" y="726758"/>
                </a:cubicBezTo>
                <a:close/>
                <a:moveTo>
                  <a:pt x="5009769" y="138208"/>
                </a:moveTo>
                <a:lnTo>
                  <a:pt x="5147977" y="138208"/>
                </a:lnTo>
                <a:lnTo>
                  <a:pt x="5147977" y="0"/>
                </a:lnTo>
                <a:lnTo>
                  <a:pt x="5009769" y="0"/>
                </a:lnTo>
                <a:lnTo>
                  <a:pt x="5009769" y="13820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266229E-EE66-4E81-BE31-5B78429C2CD2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459126" y="5485198"/>
            <a:ext cx="5352031" cy="742054"/>
            <a:chOff x="459066" y="5485198"/>
            <a:chExt cx="5351334" cy="742054"/>
          </a:xfrm>
        </p:grpSpPr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B6AFDF4B-DF43-4076-BA0E-02679D0AA895}"/>
                </a:ext>
              </a:extLst>
            </p:cNvPr>
            <p:cNvSpPr txBox="1"/>
            <p:nvPr userDrawn="1"/>
          </p:nvSpPr>
          <p:spPr bwMode="ltGray">
            <a:xfrm>
              <a:off x="540812" y="5485198"/>
              <a:ext cx="5269588" cy="276999"/>
            </a:xfrm>
            <a:prstGeom prst="rect">
              <a:avLst/>
            </a:prstGeom>
            <a:noFill/>
          </p:spPr>
          <p:txBody>
            <a:bodyPr wrap="square" lIns="0" tIns="0" rIns="0" bIns="0">
              <a:noAutofit/>
            </a:bodyPr>
            <a:lstStyle/>
            <a:p>
              <a:r>
                <a:rPr lang="en-US" sz="2000" b="0" noProof="0">
                  <a:solidFill>
                    <a:schemeClr val="bg1"/>
                  </a:solidFill>
                </a:rPr>
                <a:t>www.novelis.com</a:t>
              </a:r>
            </a:p>
          </p:txBody>
        </p: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4ABE3C8A-88B1-4D94-8E8C-0C29C606BBDC}"/>
                </a:ext>
              </a:extLst>
            </p:cNvPr>
            <p:cNvGrpSpPr>
              <a:grpSpLocks noChangeAspect="1"/>
            </p:cNvGrpSpPr>
            <p:nvPr userDrawn="1"/>
          </p:nvGrpSpPr>
          <p:grpSpPr bwMode="ltGray">
            <a:xfrm>
              <a:off x="540812" y="5938671"/>
              <a:ext cx="1937902" cy="288581"/>
              <a:chOff x="540812" y="5938671"/>
              <a:chExt cx="1937902" cy="288581"/>
            </a:xfrm>
          </p:grpSpPr>
          <p:sp>
            <p:nvSpPr>
              <p:cNvPr id="43" name="Freihandform 7">
                <a:hlinkClick r:id="rId2"/>
                <a:extLst>
                  <a:ext uri="{FF2B5EF4-FFF2-40B4-BE49-F238E27FC236}">
                    <a16:creationId xmlns:a16="http://schemas.microsoft.com/office/drawing/2014/main" id="{65A8C13B-ABE1-4724-9523-3F1DBBA25F17}"/>
                  </a:ext>
                </a:extLst>
              </p:cNvPr>
              <p:cNvSpPr>
                <a:spLocks noChangeAspect="1"/>
              </p:cNvSpPr>
              <p:nvPr userDrawn="1"/>
            </p:nvSpPr>
            <p:spPr bwMode="ltGray">
              <a:xfrm>
                <a:off x="540812" y="5938671"/>
                <a:ext cx="144513" cy="288581"/>
              </a:xfrm>
              <a:custGeom>
                <a:avLst/>
                <a:gdLst/>
                <a:ahLst/>
                <a:cxnLst/>
                <a:rect l="l" t="t" r="r" b="b"/>
                <a:pathLst>
                  <a:path w="170780" h="340444">
                    <a:moveTo>
                      <a:pt x="109761" y="0"/>
                    </a:moveTo>
                    <a:lnTo>
                      <a:pt x="170780" y="0"/>
                    </a:lnTo>
                    <a:lnTo>
                      <a:pt x="170780" y="58787"/>
                    </a:lnTo>
                    <a:lnTo>
                      <a:pt x="127248" y="58787"/>
                    </a:lnTo>
                    <a:lnTo>
                      <a:pt x="119434" y="59159"/>
                    </a:lnTo>
                    <a:cubicBezTo>
                      <a:pt x="114473" y="59159"/>
                      <a:pt x="111993" y="65360"/>
                      <a:pt x="111993" y="77762"/>
                    </a:cubicBezTo>
                    <a:lnTo>
                      <a:pt x="111993" y="120178"/>
                    </a:lnTo>
                    <a:lnTo>
                      <a:pt x="113109" y="121294"/>
                    </a:lnTo>
                    <a:lnTo>
                      <a:pt x="170036" y="121294"/>
                    </a:lnTo>
                    <a:lnTo>
                      <a:pt x="164083" y="182686"/>
                    </a:lnTo>
                    <a:lnTo>
                      <a:pt x="111993" y="182686"/>
                    </a:lnTo>
                    <a:lnTo>
                      <a:pt x="110877" y="183802"/>
                    </a:lnTo>
                    <a:lnTo>
                      <a:pt x="110877" y="340444"/>
                    </a:lnTo>
                    <a:lnTo>
                      <a:pt x="44648" y="340444"/>
                    </a:lnTo>
                    <a:lnTo>
                      <a:pt x="44648" y="183802"/>
                    </a:lnTo>
                    <a:lnTo>
                      <a:pt x="43532" y="182686"/>
                    </a:lnTo>
                    <a:lnTo>
                      <a:pt x="1116" y="182686"/>
                    </a:lnTo>
                    <a:lnTo>
                      <a:pt x="0" y="181570"/>
                    </a:lnTo>
                    <a:lnTo>
                      <a:pt x="0" y="122411"/>
                    </a:lnTo>
                    <a:lnTo>
                      <a:pt x="1116" y="121294"/>
                    </a:lnTo>
                    <a:lnTo>
                      <a:pt x="43904" y="121294"/>
                    </a:lnTo>
                    <a:lnTo>
                      <a:pt x="45020" y="120178"/>
                    </a:lnTo>
                    <a:lnTo>
                      <a:pt x="45020" y="72181"/>
                    </a:lnTo>
                    <a:cubicBezTo>
                      <a:pt x="45020" y="55810"/>
                      <a:pt x="47253" y="43160"/>
                      <a:pt x="51718" y="34230"/>
                    </a:cubicBezTo>
                    <a:cubicBezTo>
                      <a:pt x="65856" y="11410"/>
                      <a:pt x="85204" y="0"/>
                      <a:pt x="10976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 sz="1800" noProof="0"/>
              </a:p>
            </p:txBody>
          </p:sp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F90C2459-8F37-45DE-A00B-5A69647C6977}"/>
                  </a:ext>
                </a:extLst>
              </p:cNvPr>
              <p:cNvGrpSpPr>
                <a:grpSpLocks noChangeAspect="1"/>
              </p:cNvGrpSpPr>
              <p:nvPr userDrawn="1"/>
            </p:nvGrpSpPr>
            <p:grpSpPr bwMode="ltGray">
              <a:xfrm>
                <a:off x="956154" y="5947904"/>
                <a:ext cx="293556" cy="279348"/>
                <a:chOff x="10642932" y="801408"/>
                <a:chExt cx="299888" cy="286867"/>
              </a:xfrm>
              <a:solidFill>
                <a:schemeClr val="bg1"/>
              </a:solidFill>
            </p:grpSpPr>
            <p:sp>
              <p:nvSpPr>
                <p:cNvPr id="45" name="Freihandform 520">
                  <a:hlinkClick r:id="rId3"/>
                  <a:extLst>
                    <a:ext uri="{FF2B5EF4-FFF2-40B4-BE49-F238E27FC236}">
                      <a16:creationId xmlns:a16="http://schemas.microsoft.com/office/drawing/2014/main" id="{DE772D6A-23C3-4E60-A7A0-E3EF8240291F}"/>
                    </a:ext>
                  </a:extLst>
                </p:cNvPr>
                <p:cNvSpPr/>
                <p:nvPr/>
              </p:nvSpPr>
              <p:spPr bwMode="ltGray">
                <a:xfrm>
                  <a:off x="10642932" y="801408"/>
                  <a:ext cx="72181" cy="666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181" h="66600">
                      <a:moveTo>
                        <a:pt x="35346" y="0"/>
                      </a:moveTo>
                      <a:lnTo>
                        <a:pt x="46508" y="1116"/>
                      </a:lnTo>
                      <a:cubicBezTo>
                        <a:pt x="63624" y="6821"/>
                        <a:pt x="72181" y="17611"/>
                        <a:pt x="72181" y="33486"/>
                      </a:cubicBezTo>
                      <a:lnTo>
                        <a:pt x="71437" y="40927"/>
                      </a:lnTo>
                      <a:cubicBezTo>
                        <a:pt x="65484" y="58043"/>
                        <a:pt x="54694" y="66600"/>
                        <a:pt x="39067" y="66600"/>
                      </a:cubicBezTo>
                      <a:lnTo>
                        <a:pt x="32370" y="66600"/>
                      </a:lnTo>
                      <a:lnTo>
                        <a:pt x="24184" y="65484"/>
                      </a:lnTo>
                      <a:cubicBezTo>
                        <a:pt x="8061" y="59779"/>
                        <a:pt x="0" y="49113"/>
                        <a:pt x="0" y="33486"/>
                      </a:cubicBezTo>
                      <a:lnTo>
                        <a:pt x="0" y="31998"/>
                      </a:lnTo>
                      <a:lnTo>
                        <a:pt x="1116" y="24184"/>
                      </a:lnTo>
                      <a:cubicBezTo>
                        <a:pt x="7069" y="8061"/>
                        <a:pt x="18479" y="0"/>
                        <a:pt x="35346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noProof="0"/>
                </a:p>
              </p:txBody>
            </p:sp>
            <p:sp>
              <p:nvSpPr>
                <p:cNvPr id="46" name="Freihandform 521">
                  <a:hlinkClick r:id="rId3"/>
                  <a:extLst>
                    <a:ext uri="{FF2B5EF4-FFF2-40B4-BE49-F238E27FC236}">
                      <a16:creationId xmlns:a16="http://schemas.microsoft.com/office/drawing/2014/main" id="{8EE6D537-EBEB-4E9D-A65E-896852FD48D5}"/>
                    </a:ext>
                  </a:extLst>
                </p:cNvPr>
                <p:cNvSpPr/>
                <p:nvPr/>
              </p:nvSpPr>
              <p:spPr bwMode="ltGray">
                <a:xfrm>
                  <a:off x="10746739" y="890332"/>
                  <a:ext cx="196081" cy="1979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6081" h="197942">
                      <a:moveTo>
                        <a:pt x="120551" y="0"/>
                      </a:moveTo>
                      <a:cubicBezTo>
                        <a:pt x="129481" y="0"/>
                        <a:pt x="139155" y="1489"/>
                        <a:pt x="149573" y="4465"/>
                      </a:cubicBezTo>
                      <a:cubicBezTo>
                        <a:pt x="180578" y="15875"/>
                        <a:pt x="196081" y="45021"/>
                        <a:pt x="196081" y="91902"/>
                      </a:cubicBezTo>
                      <a:lnTo>
                        <a:pt x="196081" y="197942"/>
                      </a:lnTo>
                      <a:lnTo>
                        <a:pt x="131713" y="197942"/>
                      </a:lnTo>
                      <a:lnTo>
                        <a:pt x="131713" y="94134"/>
                      </a:lnTo>
                      <a:cubicBezTo>
                        <a:pt x="131713" y="88925"/>
                        <a:pt x="131217" y="82972"/>
                        <a:pt x="130225" y="76275"/>
                      </a:cubicBezTo>
                      <a:cubicBezTo>
                        <a:pt x="125264" y="59160"/>
                        <a:pt x="115590" y="50602"/>
                        <a:pt x="101203" y="50602"/>
                      </a:cubicBezTo>
                      <a:lnTo>
                        <a:pt x="96739" y="50602"/>
                      </a:lnTo>
                      <a:cubicBezTo>
                        <a:pt x="87809" y="50602"/>
                        <a:pt x="79747" y="54943"/>
                        <a:pt x="72554" y="63624"/>
                      </a:cubicBezTo>
                      <a:cubicBezTo>
                        <a:pt x="66601" y="67593"/>
                        <a:pt x="63624" y="79127"/>
                        <a:pt x="63624" y="98227"/>
                      </a:cubicBezTo>
                      <a:lnTo>
                        <a:pt x="63624" y="197942"/>
                      </a:lnTo>
                      <a:lnTo>
                        <a:pt x="0" y="197942"/>
                      </a:lnTo>
                      <a:lnTo>
                        <a:pt x="0" y="4465"/>
                      </a:lnTo>
                      <a:lnTo>
                        <a:pt x="63624" y="4465"/>
                      </a:lnTo>
                      <a:lnTo>
                        <a:pt x="63624" y="31254"/>
                      </a:lnTo>
                      <a:lnTo>
                        <a:pt x="64368" y="31254"/>
                      </a:lnTo>
                      <a:cubicBezTo>
                        <a:pt x="78755" y="10418"/>
                        <a:pt x="97483" y="0"/>
                        <a:pt x="120551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noProof="0"/>
                </a:p>
              </p:txBody>
            </p:sp>
            <p:sp>
              <p:nvSpPr>
                <p:cNvPr id="47" name="Freihandform 522">
                  <a:hlinkClick r:id="rId3"/>
                  <a:extLst>
                    <a:ext uri="{FF2B5EF4-FFF2-40B4-BE49-F238E27FC236}">
                      <a16:creationId xmlns:a16="http://schemas.microsoft.com/office/drawing/2014/main" id="{CC49D733-94F5-4E1B-AD4D-F27DAA960238}"/>
                    </a:ext>
                  </a:extLst>
                </p:cNvPr>
                <p:cNvSpPr/>
                <p:nvPr/>
              </p:nvSpPr>
              <p:spPr bwMode="ltGray">
                <a:xfrm>
                  <a:off x="10647024" y="894798"/>
                  <a:ext cx="63624" cy="19347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624" h="193477">
                      <a:moveTo>
                        <a:pt x="0" y="0"/>
                      </a:moveTo>
                      <a:lnTo>
                        <a:pt x="63624" y="0"/>
                      </a:lnTo>
                      <a:lnTo>
                        <a:pt x="63624" y="193477"/>
                      </a:lnTo>
                      <a:lnTo>
                        <a:pt x="0" y="19347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0" tIns="0" rIns="0" bIns="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/>
                  <a:endParaRPr lang="en-US" sz="1800" noProof="0"/>
                </a:p>
              </p:txBody>
            </p:sp>
          </p:grpSp>
          <p:sp>
            <p:nvSpPr>
              <p:cNvPr id="5" name="Grafik 3">
                <a:hlinkClick r:id="rId4"/>
                <a:extLst>
                  <a:ext uri="{FF2B5EF4-FFF2-40B4-BE49-F238E27FC236}">
                    <a16:creationId xmlns:a16="http://schemas.microsoft.com/office/drawing/2014/main" id="{33045AFA-6107-4128-9802-EFD5E71DECCA}"/>
                  </a:ext>
                </a:extLst>
              </p:cNvPr>
              <p:cNvSpPr>
                <a:spLocks noChangeAspect="1"/>
              </p:cNvSpPr>
              <p:nvPr/>
            </p:nvSpPr>
            <p:spPr bwMode="ltGray">
              <a:xfrm>
                <a:off x="1520539" y="5963436"/>
                <a:ext cx="324755" cy="263816"/>
              </a:xfrm>
              <a:custGeom>
                <a:avLst/>
                <a:gdLst>
                  <a:gd name="connsiteX0" fmla="*/ 4876800 w 4876800"/>
                  <a:gd name="connsiteY0" fmla="*/ 468326 h 3961681"/>
                  <a:gd name="connsiteX1" fmla="*/ 4300728 w 4876800"/>
                  <a:gd name="connsiteY1" fmla="*/ 626155 h 3961681"/>
                  <a:gd name="connsiteX2" fmla="*/ 4740593 w 4876800"/>
                  <a:gd name="connsiteY2" fmla="*/ 73705 h 3961681"/>
                  <a:gd name="connsiteX3" fmla="*/ 4106609 w 4876800"/>
                  <a:gd name="connsiteY3" fmla="*/ 315735 h 3961681"/>
                  <a:gd name="connsiteX4" fmla="*/ 2692937 w 4876800"/>
                  <a:gd name="connsiteY4" fmla="*/ 270750 h 3961681"/>
                  <a:gd name="connsiteX5" fmla="*/ 2377154 w 4876800"/>
                  <a:gd name="connsiteY5" fmla="*/ 999344 h 3961681"/>
                  <a:gd name="connsiteX6" fmla="*/ 2400300 w 4876800"/>
                  <a:gd name="connsiteY6" fmla="*/ 1227278 h 3961681"/>
                  <a:gd name="connsiteX7" fmla="*/ 339566 w 4876800"/>
                  <a:gd name="connsiteY7" fmla="*/ 181528 h 3961681"/>
                  <a:gd name="connsiteX8" fmla="*/ 646748 w 4876800"/>
                  <a:gd name="connsiteY8" fmla="*/ 1517695 h 3961681"/>
                  <a:gd name="connsiteX9" fmla="*/ 195072 w 4876800"/>
                  <a:gd name="connsiteY9" fmla="*/ 1394632 h 3961681"/>
                  <a:gd name="connsiteX10" fmla="*/ 195072 w 4876800"/>
                  <a:gd name="connsiteY10" fmla="*/ 1405586 h 3961681"/>
                  <a:gd name="connsiteX11" fmla="*/ 996125 w 4876800"/>
                  <a:gd name="connsiteY11" fmla="*/ 2387899 h 3961681"/>
                  <a:gd name="connsiteX12" fmla="*/ 733997 w 4876800"/>
                  <a:gd name="connsiteY12" fmla="*/ 2420855 h 3961681"/>
                  <a:gd name="connsiteX13" fmla="*/ 544640 w 4876800"/>
                  <a:gd name="connsiteY13" fmla="*/ 2403806 h 3961681"/>
                  <a:gd name="connsiteX14" fmla="*/ 1478852 w 4876800"/>
                  <a:gd name="connsiteY14" fmla="*/ 3100274 h 3961681"/>
                  <a:gd name="connsiteX15" fmla="*/ 239268 w 4876800"/>
                  <a:gd name="connsiteY15" fmla="*/ 3526708 h 3961681"/>
                  <a:gd name="connsiteX16" fmla="*/ 0 w 4876800"/>
                  <a:gd name="connsiteY16" fmla="*/ 3512992 h 3961681"/>
                  <a:gd name="connsiteX17" fmla="*/ 1533525 w 4876800"/>
                  <a:gd name="connsiteY17" fmla="*/ 3961619 h 3961681"/>
                  <a:gd name="connsiteX18" fmla="*/ 4379214 w 4876800"/>
                  <a:gd name="connsiteY18" fmla="*/ 1116597 h 3961681"/>
                  <a:gd name="connsiteX19" fmla="*/ 4375499 w 4876800"/>
                  <a:gd name="connsiteY19" fmla="*/ 987343 h 3961681"/>
                  <a:gd name="connsiteX20" fmla="*/ 4876800 w 4876800"/>
                  <a:gd name="connsiteY20" fmla="*/ 468326 h 3961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876800" h="3961681">
                    <a:moveTo>
                      <a:pt x="4876800" y="468326"/>
                    </a:moveTo>
                    <a:cubicBezTo>
                      <a:pt x="4693358" y="548345"/>
                      <a:pt x="4499334" y="601495"/>
                      <a:pt x="4300728" y="626155"/>
                    </a:cubicBezTo>
                    <a:cubicBezTo>
                      <a:pt x="4510021" y="502044"/>
                      <a:pt x="4666527" y="305484"/>
                      <a:pt x="4740593" y="73705"/>
                    </a:cubicBezTo>
                    <a:cubicBezTo>
                      <a:pt x="4544597" y="189902"/>
                      <a:pt x="4330180" y="271757"/>
                      <a:pt x="4106609" y="315735"/>
                    </a:cubicBezTo>
                    <a:cubicBezTo>
                      <a:pt x="3728657" y="-87063"/>
                      <a:pt x="3095730" y="-107203"/>
                      <a:pt x="2692937" y="270750"/>
                    </a:cubicBezTo>
                    <a:cubicBezTo>
                      <a:pt x="2491635" y="459631"/>
                      <a:pt x="2377354" y="723310"/>
                      <a:pt x="2377154" y="999344"/>
                    </a:cubicBezTo>
                    <a:cubicBezTo>
                      <a:pt x="2376354" y="1075944"/>
                      <a:pt x="2384117" y="1152402"/>
                      <a:pt x="2400300" y="1227278"/>
                    </a:cubicBezTo>
                    <a:cubicBezTo>
                      <a:pt x="1569149" y="1186701"/>
                      <a:pt x="833628" y="788366"/>
                      <a:pt x="339566" y="181528"/>
                    </a:cubicBezTo>
                    <a:cubicBezTo>
                      <a:pt x="72547" y="638080"/>
                      <a:pt x="207156" y="1223591"/>
                      <a:pt x="646748" y="1517695"/>
                    </a:cubicBezTo>
                    <a:cubicBezTo>
                      <a:pt x="488502" y="1513466"/>
                      <a:pt x="333592" y="1471260"/>
                      <a:pt x="195072" y="1394632"/>
                    </a:cubicBezTo>
                    <a:lnTo>
                      <a:pt x="195072" y="1405586"/>
                    </a:lnTo>
                    <a:cubicBezTo>
                      <a:pt x="195613" y="1881464"/>
                      <a:pt x="530087" y="2291620"/>
                      <a:pt x="996125" y="2387899"/>
                    </a:cubicBezTo>
                    <a:cubicBezTo>
                      <a:pt x="910598" y="2410464"/>
                      <a:pt x="822448" y="2421551"/>
                      <a:pt x="733997" y="2420855"/>
                    </a:cubicBezTo>
                    <a:cubicBezTo>
                      <a:pt x="670448" y="2421998"/>
                      <a:pt x="606962" y="2416284"/>
                      <a:pt x="544640" y="2403806"/>
                    </a:cubicBezTo>
                    <a:cubicBezTo>
                      <a:pt x="674180" y="2799760"/>
                      <a:pt x="1041845" y="3090844"/>
                      <a:pt x="1478852" y="3100274"/>
                    </a:cubicBezTo>
                    <a:cubicBezTo>
                      <a:pt x="1124950" y="3377013"/>
                      <a:pt x="688519" y="3527156"/>
                      <a:pt x="239268" y="3526708"/>
                    </a:cubicBezTo>
                    <a:cubicBezTo>
                      <a:pt x="159302" y="3527222"/>
                      <a:pt x="79384" y="3522641"/>
                      <a:pt x="0" y="3512992"/>
                    </a:cubicBezTo>
                    <a:cubicBezTo>
                      <a:pt x="457114" y="3807515"/>
                      <a:pt x="989752" y="3963334"/>
                      <a:pt x="1533525" y="3961619"/>
                    </a:cubicBezTo>
                    <a:cubicBezTo>
                      <a:pt x="3373374" y="3961619"/>
                      <a:pt x="4379214" y="2437619"/>
                      <a:pt x="4379214" y="1116597"/>
                    </a:cubicBezTo>
                    <a:cubicBezTo>
                      <a:pt x="4379214" y="1072401"/>
                      <a:pt x="4377690" y="1029729"/>
                      <a:pt x="4375499" y="987343"/>
                    </a:cubicBezTo>
                    <a:cubicBezTo>
                      <a:pt x="4572781" y="846268"/>
                      <a:pt x="4742660" y="670389"/>
                      <a:pt x="4876800" y="46832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sz="1800" noProof="0"/>
              </a:p>
            </p:txBody>
          </p:sp>
          <p:sp>
            <p:nvSpPr>
              <p:cNvPr id="8" name="Grafik 6">
                <a:hlinkClick r:id="rId5"/>
                <a:extLst>
                  <a:ext uri="{FF2B5EF4-FFF2-40B4-BE49-F238E27FC236}">
                    <a16:creationId xmlns:a16="http://schemas.microsoft.com/office/drawing/2014/main" id="{85F9C179-4086-448D-B4FE-54053FAD429D}"/>
                  </a:ext>
                </a:extLst>
              </p:cNvPr>
              <p:cNvSpPr>
                <a:spLocks noChangeAspect="1"/>
              </p:cNvSpPr>
              <p:nvPr/>
            </p:nvSpPr>
            <p:spPr bwMode="ltGray">
              <a:xfrm>
                <a:off x="2116122" y="5970669"/>
                <a:ext cx="362592" cy="256583"/>
              </a:xfrm>
              <a:custGeom>
                <a:avLst/>
                <a:gdLst>
                  <a:gd name="connsiteX0" fmla="*/ 3479531 w 4391025"/>
                  <a:gd name="connsiteY0" fmla="*/ -126 h 3107245"/>
                  <a:gd name="connsiteX1" fmla="*/ 912352 w 4391025"/>
                  <a:gd name="connsiteY1" fmla="*/ -126 h 3107245"/>
                  <a:gd name="connsiteX2" fmla="*/ 429 w 4391025"/>
                  <a:gd name="connsiteY2" fmla="*/ 911892 h 3107245"/>
                  <a:gd name="connsiteX3" fmla="*/ 429 w 4391025"/>
                  <a:gd name="connsiteY3" fmla="*/ 2195100 h 3107245"/>
                  <a:gd name="connsiteX4" fmla="*/ 912352 w 4391025"/>
                  <a:gd name="connsiteY4" fmla="*/ 3107119 h 3107245"/>
                  <a:gd name="connsiteX5" fmla="*/ 3479531 w 4391025"/>
                  <a:gd name="connsiteY5" fmla="*/ 3107119 h 3107245"/>
                  <a:gd name="connsiteX6" fmla="*/ 4391454 w 4391025"/>
                  <a:gd name="connsiteY6" fmla="*/ 2195196 h 3107245"/>
                  <a:gd name="connsiteX7" fmla="*/ 4391454 w 4391025"/>
                  <a:gd name="connsiteY7" fmla="*/ 2195100 h 3107245"/>
                  <a:gd name="connsiteX8" fmla="*/ 4391454 w 4391025"/>
                  <a:gd name="connsiteY8" fmla="*/ 911892 h 3107245"/>
                  <a:gd name="connsiteX9" fmla="*/ 3479626 w 4391025"/>
                  <a:gd name="connsiteY9" fmla="*/ -126 h 3107245"/>
                  <a:gd name="connsiteX10" fmla="*/ 3479531 w 4391025"/>
                  <a:gd name="connsiteY10" fmla="*/ -126 h 3107245"/>
                  <a:gd name="connsiteX11" fmla="*/ 2862787 w 4391025"/>
                  <a:gd name="connsiteY11" fmla="*/ 1615980 h 3107245"/>
                  <a:gd name="connsiteX12" fmla="*/ 1662065 w 4391025"/>
                  <a:gd name="connsiteY12" fmla="*/ 2188623 h 3107245"/>
                  <a:gd name="connsiteX13" fmla="*/ 1597810 w 4391025"/>
                  <a:gd name="connsiteY13" fmla="*/ 2165897 h 3107245"/>
                  <a:gd name="connsiteX14" fmla="*/ 1593104 w 4391025"/>
                  <a:gd name="connsiteY14" fmla="*/ 2145094 h 3107245"/>
                  <a:gd name="connsiteX15" fmla="*/ 1593104 w 4391025"/>
                  <a:gd name="connsiteY15" fmla="*/ 963994 h 3107245"/>
                  <a:gd name="connsiteX16" fmla="*/ 1641225 w 4391025"/>
                  <a:gd name="connsiteY16" fmla="*/ 915722 h 3107245"/>
                  <a:gd name="connsiteX17" fmla="*/ 1663113 w 4391025"/>
                  <a:gd name="connsiteY17" fmla="*/ 920941 h 3107245"/>
                  <a:gd name="connsiteX18" fmla="*/ 2863835 w 4391025"/>
                  <a:gd name="connsiteY18" fmla="*/ 1529684 h 3107245"/>
                  <a:gd name="connsiteX19" fmla="*/ 2884513 w 4391025"/>
                  <a:gd name="connsiteY19" fmla="*/ 1594768 h 3107245"/>
                  <a:gd name="connsiteX20" fmla="*/ 2862787 w 4391025"/>
                  <a:gd name="connsiteY20" fmla="*/ 1615980 h 3107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391025" h="3107245">
                    <a:moveTo>
                      <a:pt x="3479531" y="-126"/>
                    </a:moveTo>
                    <a:lnTo>
                      <a:pt x="912352" y="-126"/>
                    </a:lnTo>
                    <a:cubicBezTo>
                      <a:pt x="408699" y="-69"/>
                      <a:pt x="429" y="408239"/>
                      <a:pt x="429" y="911892"/>
                    </a:cubicBezTo>
                    <a:lnTo>
                      <a:pt x="429" y="2195100"/>
                    </a:lnTo>
                    <a:cubicBezTo>
                      <a:pt x="429" y="2698754"/>
                      <a:pt x="408699" y="3107062"/>
                      <a:pt x="912352" y="3107119"/>
                    </a:cubicBezTo>
                    <a:lnTo>
                      <a:pt x="3479531" y="3107119"/>
                    </a:lnTo>
                    <a:cubicBezTo>
                      <a:pt x="3983172" y="3107119"/>
                      <a:pt x="4391454" y="2698840"/>
                      <a:pt x="4391454" y="2195196"/>
                    </a:cubicBezTo>
                    <a:cubicBezTo>
                      <a:pt x="4391454" y="2195167"/>
                      <a:pt x="4391454" y="2195129"/>
                      <a:pt x="4391454" y="2195100"/>
                    </a:cubicBezTo>
                    <a:lnTo>
                      <a:pt x="4391454" y="911892"/>
                    </a:lnTo>
                    <a:cubicBezTo>
                      <a:pt x="4391507" y="408249"/>
                      <a:pt x="3983267" y="-69"/>
                      <a:pt x="3479626" y="-126"/>
                    </a:cubicBezTo>
                    <a:cubicBezTo>
                      <a:pt x="3479594" y="-126"/>
                      <a:pt x="3479562" y="-126"/>
                      <a:pt x="3479531" y="-126"/>
                    </a:cubicBezTo>
                    <a:close/>
                    <a:moveTo>
                      <a:pt x="2862787" y="1615980"/>
                    </a:moveTo>
                    <a:lnTo>
                      <a:pt x="1662065" y="2188623"/>
                    </a:lnTo>
                    <a:cubicBezTo>
                      <a:pt x="1638043" y="2200092"/>
                      <a:pt x="1609278" y="2189919"/>
                      <a:pt x="1597810" y="2165897"/>
                    </a:cubicBezTo>
                    <a:cubicBezTo>
                      <a:pt x="1594704" y="2159401"/>
                      <a:pt x="1593095" y="2152295"/>
                      <a:pt x="1593104" y="2145094"/>
                    </a:cubicBezTo>
                    <a:lnTo>
                      <a:pt x="1593104" y="963994"/>
                    </a:lnTo>
                    <a:cubicBezTo>
                      <a:pt x="1593066" y="937372"/>
                      <a:pt x="1614612" y="915760"/>
                      <a:pt x="1641225" y="915722"/>
                    </a:cubicBezTo>
                    <a:cubicBezTo>
                      <a:pt x="1648835" y="915712"/>
                      <a:pt x="1656331" y="917503"/>
                      <a:pt x="1663113" y="920941"/>
                    </a:cubicBezTo>
                    <a:lnTo>
                      <a:pt x="2863835" y="1529684"/>
                    </a:lnTo>
                    <a:cubicBezTo>
                      <a:pt x="2887523" y="1541942"/>
                      <a:pt x="2896782" y="1571089"/>
                      <a:pt x="2884513" y="1594768"/>
                    </a:cubicBezTo>
                    <a:cubicBezTo>
                      <a:pt x="2879741" y="1603998"/>
                      <a:pt x="2872121" y="1611427"/>
                      <a:pt x="2862787" y="161598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en-US" sz="1800" noProof="0"/>
              </a:p>
            </p:txBody>
          </p:sp>
        </p:grpSp>
        <p:sp>
          <p:nvSpPr>
            <p:cNvPr id="11" name="Rechteck 10">
              <a:hlinkClick r:id="rId6"/>
              <a:extLst>
                <a:ext uri="{FF2B5EF4-FFF2-40B4-BE49-F238E27FC236}">
                  <a16:creationId xmlns:a16="http://schemas.microsoft.com/office/drawing/2014/main" id="{BEF1FD3F-1604-4455-8949-AED84F4824C1}"/>
                </a:ext>
              </a:extLst>
            </p:cNvPr>
            <p:cNvSpPr/>
            <p:nvPr userDrawn="1"/>
          </p:nvSpPr>
          <p:spPr bwMode="ltGray">
            <a:xfrm>
              <a:off x="459066" y="5485198"/>
              <a:ext cx="2117558" cy="309210"/>
            </a:xfrm>
            <a:prstGeom prst="rect">
              <a:avLst/>
            </a:prstGeom>
            <a:solidFill>
              <a:schemeClr val="accent6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80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F91A2B54-C187-4736-8CC2-903A5BF2C317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B3E25A0F-C962-49E8-83C6-FEC2A020F704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63" name="Line">
                <a:extLst>
                  <a:ext uri="{FF2B5EF4-FFF2-40B4-BE49-F238E27FC236}">
                    <a16:creationId xmlns:a16="http://schemas.microsoft.com/office/drawing/2014/main" id="{220A2A8C-62B9-4553-8A71-A4218B957C6F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">
                <a:extLst>
                  <a:ext uri="{FF2B5EF4-FFF2-40B4-BE49-F238E27FC236}">
                    <a16:creationId xmlns:a16="http://schemas.microsoft.com/office/drawing/2014/main" id="{FFC55C92-A7BE-4C91-8CBA-E6D1F4DDD5F8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51" name="Hilfslinie">
              <a:extLst>
                <a:ext uri="{FF2B5EF4-FFF2-40B4-BE49-F238E27FC236}">
                  <a16:creationId xmlns:a16="http://schemas.microsoft.com/office/drawing/2014/main" id="{0AE40767-DE8E-4B9F-923E-007455CB83EA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61" name="Line">
                <a:extLst>
                  <a:ext uri="{FF2B5EF4-FFF2-40B4-BE49-F238E27FC236}">
                    <a16:creationId xmlns:a16="http://schemas.microsoft.com/office/drawing/2014/main" id="{513F9F81-C477-466A-8503-E51FE09A34C7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">
                <a:extLst>
                  <a:ext uri="{FF2B5EF4-FFF2-40B4-BE49-F238E27FC236}">
                    <a16:creationId xmlns:a16="http://schemas.microsoft.com/office/drawing/2014/main" id="{E724578E-2533-4AC6-8930-D1D3F4248161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52" name="Hilfslinie">
              <a:extLst>
                <a:ext uri="{FF2B5EF4-FFF2-40B4-BE49-F238E27FC236}">
                  <a16:creationId xmlns:a16="http://schemas.microsoft.com/office/drawing/2014/main" id="{18278E47-A945-4511-A4B3-AE978B87F586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9" name="Line">
                <a:extLst>
                  <a:ext uri="{FF2B5EF4-FFF2-40B4-BE49-F238E27FC236}">
                    <a16:creationId xmlns:a16="http://schemas.microsoft.com/office/drawing/2014/main" id="{C0C8DCD9-4BBD-4826-831A-3A6B158675C5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">
                <a:extLst>
                  <a:ext uri="{FF2B5EF4-FFF2-40B4-BE49-F238E27FC236}">
                    <a16:creationId xmlns:a16="http://schemas.microsoft.com/office/drawing/2014/main" id="{DBA836F4-2FA1-4016-A7A9-CD9EBD371D59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53" name="Hilfslinie">
              <a:extLst>
                <a:ext uri="{FF2B5EF4-FFF2-40B4-BE49-F238E27FC236}">
                  <a16:creationId xmlns:a16="http://schemas.microsoft.com/office/drawing/2014/main" id="{95CBF194-D3DE-4672-B126-71B8E777F2A6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7" name="Line">
                <a:extLst>
                  <a:ext uri="{FF2B5EF4-FFF2-40B4-BE49-F238E27FC236}">
                    <a16:creationId xmlns:a16="http://schemas.microsoft.com/office/drawing/2014/main" id="{22DBABCE-638D-4A14-9445-CBF81A709999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">
                <a:extLst>
                  <a:ext uri="{FF2B5EF4-FFF2-40B4-BE49-F238E27FC236}">
                    <a16:creationId xmlns:a16="http://schemas.microsoft.com/office/drawing/2014/main" id="{7E276DDC-BBFE-4ADF-A478-4BCB524CFCEF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4" name="Hilfslinie">
              <a:extLst>
                <a:ext uri="{FF2B5EF4-FFF2-40B4-BE49-F238E27FC236}">
                  <a16:creationId xmlns:a16="http://schemas.microsoft.com/office/drawing/2014/main" id="{A2FC47F9-A679-4477-93BD-D2898E6B725B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6DB3AB84-CB1E-46A5-9978-D2F976FC77B2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42A5D506-D921-47B0-AEC9-D57E9363AC1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2505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/>
      <p:bldP spid="21" grpId="0" animBg="1">
        <p:tmplLst>
          <p:tmpl>
            <p:tnLst>
              <p:par>
                <p:cTn presetID="22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Full Size Picture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ildplatzhalter 5">
            <a:extLst>
              <a:ext uri="{FF2B5EF4-FFF2-40B4-BE49-F238E27FC236}">
                <a16:creationId xmlns:a16="http://schemas.microsoft.com/office/drawing/2014/main" id="{2C931CC9-B0B5-44C4-AF7C-D05FD5A3F6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1" y="0"/>
            <a:ext cx="12192000" cy="6858000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FCFEC8A-B75E-413E-87D4-D2B5AF580A9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ltGray">
          <a:xfrm>
            <a:off x="1" y="0"/>
            <a:ext cx="12191994" cy="6858000"/>
          </a:xfrm>
          <a:gradFill>
            <a:gsLst>
              <a:gs pos="0">
                <a:schemeClr val="accent6">
                  <a:alpha val="50000"/>
                </a:schemeClr>
              </a:gs>
              <a:gs pos="100000">
                <a:schemeClr val="tx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32B62582-732E-46F7-BE48-25623807BC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262D2DB-5BCF-48C0-B16C-0CF27373F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BEB12A67-DB13-4685-8280-8810E5737AA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ltGray">
          <a:xfrm>
            <a:off x="10751002" y="6450741"/>
            <a:ext cx="900117" cy="187875"/>
          </a:xfrm>
          <a:blipFill>
            <a:blip r:embed="rId2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7F060350-D0B7-4503-AE56-CF2914880D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ltGray">
          <a:xfrm>
            <a:off x="865374" y="6472457"/>
            <a:ext cx="0" cy="144000"/>
          </a:xfr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C203FEE-57FD-49A5-8B91-0DD9746BE9D9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7" name="Hilfslinie">
              <a:extLst>
                <a:ext uri="{FF2B5EF4-FFF2-40B4-BE49-F238E27FC236}">
                  <a16:creationId xmlns:a16="http://schemas.microsoft.com/office/drawing/2014/main" id="{616C6312-6250-417C-825B-D313A0443BC3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60" name="Line">
                <a:extLst>
                  <a:ext uri="{FF2B5EF4-FFF2-40B4-BE49-F238E27FC236}">
                    <a16:creationId xmlns:a16="http://schemas.microsoft.com/office/drawing/2014/main" id="{49E786E7-0049-4BD9-B0FE-74518212E16C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">
                <a:extLst>
                  <a:ext uri="{FF2B5EF4-FFF2-40B4-BE49-F238E27FC236}">
                    <a16:creationId xmlns:a16="http://schemas.microsoft.com/office/drawing/2014/main" id="{2C8AC6BB-13F9-4FD1-8A74-72D75B37998D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8" name="Hilfslinie">
              <a:extLst>
                <a:ext uri="{FF2B5EF4-FFF2-40B4-BE49-F238E27FC236}">
                  <a16:creationId xmlns:a16="http://schemas.microsoft.com/office/drawing/2014/main" id="{D7561153-AC4B-4ECB-BA7E-96D81D6A5434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8" name="Line">
                <a:extLst>
                  <a:ext uri="{FF2B5EF4-FFF2-40B4-BE49-F238E27FC236}">
                    <a16:creationId xmlns:a16="http://schemas.microsoft.com/office/drawing/2014/main" id="{D1A4EF92-A7D5-4052-931B-CB5EA541AF31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">
                <a:extLst>
                  <a:ext uri="{FF2B5EF4-FFF2-40B4-BE49-F238E27FC236}">
                    <a16:creationId xmlns:a16="http://schemas.microsoft.com/office/drawing/2014/main" id="{15F449C1-B717-4774-B017-AF43C3B81B91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9" name="Hilfslinie">
              <a:extLst>
                <a:ext uri="{FF2B5EF4-FFF2-40B4-BE49-F238E27FC236}">
                  <a16:creationId xmlns:a16="http://schemas.microsoft.com/office/drawing/2014/main" id="{BE50776D-527B-431E-9BB5-4B2826A1D53D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6" name="Line">
                <a:extLst>
                  <a:ext uri="{FF2B5EF4-FFF2-40B4-BE49-F238E27FC236}">
                    <a16:creationId xmlns:a16="http://schemas.microsoft.com/office/drawing/2014/main" id="{E310781D-5DF0-4815-BA4B-4A60D91B8F1D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">
                <a:extLst>
                  <a:ext uri="{FF2B5EF4-FFF2-40B4-BE49-F238E27FC236}">
                    <a16:creationId xmlns:a16="http://schemas.microsoft.com/office/drawing/2014/main" id="{F9692113-E6A6-45C0-BA31-CBF5F9DAC3F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93961D97-93D5-47DA-9873-EBD882A7BAB9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864B329A-7E79-40F3-87E8-E66A8911C723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2EB70B81-9AEE-4818-9DD1-3C4B9F172CF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1" name="Hilfslinie">
              <a:extLst>
                <a:ext uri="{FF2B5EF4-FFF2-40B4-BE49-F238E27FC236}">
                  <a16:creationId xmlns:a16="http://schemas.microsoft.com/office/drawing/2014/main" id="{83AC7040-E48A-4414-A694-ABAD72786C1A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64E9B933-64CC-4F8C-9446-318C11B98182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7A382FD2-C566-4990-BFD8-78C9EE529A78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grpSp>
        <p:nvGrpSpPr>
          <p:cNvPr id="30" name="Gruppieren 1">
            <a:extLst>
              <a:ext uri="{FF2B5EF4-FFF2-40B4-BE49-F238E27FC236}">
                <a16:creationId xmlns:a16="http://schemas.microsoft.com/office/drawing/2014/main" id="{B5E979DF-4C8C-47BB-A931-8B43363CBC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4207179"/>
            <a:chOff x="12427519" y="121759"/>
            <a:chExt cx="2016001" cy="4207179"/>
          </a:xfrm>
        </p:grpSpPr>
        <p:sp>
          <p:nvSpPr>
            <p:cNvPr id="31" name="Textfeld 22">
              <a:extLst>
                <a:ext uri="{FF2B5EF4-FFF2-40B4-BE49-F238E27FC236}">
                  <a16:creationId xmlns:a16="http://schemas.microsoft.com/office/drawing/2014/main" id="{A3A30982-BA49-446B-82A1-B2010F772CF8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3789105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Move the element above the picture placeholder a bit to the left or right (while holding down the SHIFT key) to get to the picture placeholder symbol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After you have inserted the picture, move the element back to the original position (Select both elements and use the "Align" tool)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32" name="Gruppieren 23">
              <a:extLst>
                <a:ext uri="{FF2B5EF4-FFF2-40B4-BE49-F238E27FC236}">
                  <a16:creationId xmlns:a16="http://schemas.microsoft.com/office/drawing/2014/main" id="{5E9C46BD-58BB-4868-8339-C8381C8CF6D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34" name="Freihandform: Form 24">
                <a:extLst>
                  <a:ext uri="{FF2B5EF4-FFF2-40B4-BE49-F238E27FC236}">
                    <a16:creationId xmlns:a16="http://schemas.microsoft.com/office/drawing/2014/main" id="{681C96EB-736D-4BF2-AFFA-A0E9B4B65B8E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35" name="Gruppieren 25">
                <a:extLst>
                  <a:ext uri="{FF2B5EF4-FFF2-40B4-BE49-F238E27FC236}">
                    <a16:creationId xmlns:a16="http://schemas.microsoft.com/office/drawing/2014/main" id="{46C7A680-739B-4BB8-81DB-2306A699684A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36" name="Gerader Verbinder 26">
                  <a:extLst>
                    <a:ext uri="{FF2B5EF4-FFF2-40B4-BE49-F238E27FC236}">
                      <a16:creationId xmlns:a16="http://schemas.microsoft.com/office/drawing/2014/main" id="{5294902D-FACC-47F4-910B-E3213D8A7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7" name="Gerader Verbinder 27">
                  <a:extLst>
                    <a:ext uri="{FF2B5EF4-FFF2-40B4-BE49-F238E27FC236}">
                      <a16:creationId xmlns:a16="http://schemas.microsoft.com/office/drawing/2014/main" id="{7630BE32-9FA7-4424-A7FA-309F23A30C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8" name="Gerader Verbinder 28">
                  <a:extLst>
                    <a:ext uri="{FF2B5EF4-FFF2-40B4-BE49-F238E27FC236}">
                      <a16:creationId xmlns:a16="http://schemas.microsoft.com/office/drawing/2014/main" id="{9FC6207E-1D66-4C9F-BB1E-0212B3D45AB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9" name="Gerader Verbinder 29">
                  <a:extLst>
                    <a:ext uri="{FF2B5EF4-FFF2-40B4-BE49-F238E27FC236}">
                      <a16:creationId xmlns:a16="http://schemas.microsoft.com/office/drawing/2014/main" id="{F8225EAA-F373-4A5C-A5CE-AF2BA78DB5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33" name="Gerader Verbinder 31">
              <a:extLst>
                <a:ext uri="{FF2B5EF4-FFF2-40B4-BE49-F238E27FC236}">
                  <a16:creationId xmlns:a16="http://schemas.microsoft.com/office/drawing/2014/main" id="{D3168832-A3DE-4C87-972B-E9B5D2675A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B56F20F1-1676-4A6B-8A5D-01DBB45A313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89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el 3">
            <a:extLst>
              <a:ext uri="{FF2B5EF4-FFF2-40B4-BE49-F238E27FC236}">
                <a16:creationId xmlns:a16="http://schemas.microsoft.com/office/drawing/2014/main" id="{9C068164-2950-40E7-A283-589A05F1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40883" y="441625"/>
            <a:ext cx="1111023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74" name="Textplatzhalter 4">
            <a:extLst>
              <a:ext uri="{FF2B5EF4-FFF2-40B4-BE49-F238E27FC236}">
                <a16:creationId xmlns:a16="http://schemas.microsoft.com/office/drawing/2014/main" id="{55E87FAD-3DA0-4F5A-B113-C86CE606FD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5" name="Grafik 4">
            <a:extLst>
              <a:ext uri="{FF2B5EF4-FFF2-40B4-BE49-F238E27FC236}">
                <a16:creationId xmlns:a16="http://schemas.microsoft.com/office/drawing/2014/main" id="{4DE42AF6-45F3-4C5E-9354-8068632D2A64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BA936E-8345-48F3-99EB-064137EEC3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94E78E-9313-46DE-A6BA-4607137D93C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F025757-EB0B-4C89-833A-20F64E095FDA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D54EE5D-14A0-4300-A156-8E0E288D7E8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F07880AF-E9A6-47D0-A8C7-986D544CEB1C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41" name="Line">
                <a:extLst>
                  <a:ext uri="{FF2B5EF4-FFF2-40B4-BE49-F238E27FC236}">
                    <a16:creationId xmlns:a16="http://schemas.microsoft.com/office/drawing/2014/main" id="{3FE959B0-8140-430E-9F80-B37A72B156E3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Text">
                <a:extLst>
                  <a:ext uri="{FF2B5EF4-FFF2-40B4-BE49-F238E27FC236}">
                    <a16:creationId xmlns:a16="http://schemas.microsoft.com/office/drawing/2014/main" id="{0AD8E39A-0977-4577-8F22-DB5D832D0124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29" name="Hilfslinie">
              <a:extLst>
                <a:ext uri="{FF2B5EF4-FFF2-40B4-BE49-F238E27FC236}">
                  <a16:creationId xmlns:a16="http://schemas.microsoft.com/office/drawing/2014/main" id="{3E1D78B4-5965-483B-9FC4-CF36BE14FEFA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39" name="Line">
                <a:extLst>
                  <a:ext uri="{FF2B5EF4-FFF2-40B4-BE49-F238E27FC236}">
                    <a16:creationId xmlns:a16="http://schemas.microsoft.com/office/drawing/2014/main" id="{647E22E8-E963-492C-AF5C-DB0C8276152B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">
                <a:extLst>
                  <a:ext uri="{FF2B5EF4-FFF2-40B4-BE49-F238E27FC236}">
                    <a16:creationId xmlns:a16="http://schemas.microsoft.com/office/drawing/2014/main" id="{DDF48DF5-1DFE-41B1-AD98-75B5E8D92AFE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30" name="Hilfslinie">
              <a:extLst>
                <a:ext uri="{FF2B5EF4-FFF2-40B4-BE49-F238E27FC236}">
                  <a16:creationId xmlns:a16="http://schemas.microsoft.com/office/drawing/2014/main" id="{25BD5AD4-076E-46A9-88B6-8D1F6C5015EB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37" name="Line">
                <a:extLst>
                  <a:ext uri="{FF2B5EF4-FFF2-40B4-BE49-F238E27FC236}">
                    <a16:creationId xmlns:a16="http://schemas.microsoft.com/office/drawing/2014/main" id="{CCD84F51-ECC4-4E62-A647-07DE027A52EA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">
                <a:extLst>
                  <a:ext uri="{FF2B5EF4-FFF2-40B4-BE49-F238E27FC236}">
                    <a16:creationId xmlns:a16="http://schemas.microsoft.com/office/drawing/2014/main" id="{BC3EBEDA-1E6D-4800-80C3-5F46D00EB69A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 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8,32</a:t>
                </a:r>
              </a:p>
            </p:txBody>
          </p:sp>
        </p:grpSp>
        <p:grpSp>
          <p:nvGrpSpPr>
            <p:cNvPr id="31" name="Hilfslinie">
              <a:extLst>
                <a:ext uri="{FF2B5EF4-FFF2-40B4-BE49-F238E27FC236}">
                  <a16:creationId xmlns:a16="http://schemas.microsoft.com/office/drawing/2014/main" id="{57B884C9-3A82-41CF-AE32-79786B63744D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35" name="Line">
                <a:extLst>
                  <a:ext uri="{FF2B5EF4-FFF2-40B4-BE49-F238E27FC236}">
                    <a16:creationId xmlns:a16="http://schemas.microsoft.com/office/drawing/2014/main" id="{85081A1C-C5EE-49E1-8CF5-0CA314F780AA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">
                <a:extLst>
                  <a:ext uri="{FF2B5EF4-FFF2-40B4-BE49-F238E27FC236}">
                    <a16:creationId xmlns:a16="http://schemas.microsoft.com/office/drawing/2014/main" id="{A49E2E26-EB2F-4713-B791-4C487F57DCF3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3,74</a:t>
                </a:r>
              </a:p>
            </p:txBody>
          </p:sp>
        </p:grpSp>
        <p:grpSp>
          <p:nvGrpSpPr>
            <p:cNvPr id="32" name="Hilfslinie">
              <a:extLst>
                <a:ext uri="{FF2B5EF4-FFF2-40B4-BE49-F238E27FC236}">
                  <a16:creationId xmlns:a16="http://schemas.microsoft.com/office/drawing/2014/main" id="{BA99E699-1801-4CB2-92DC-F53C5E2BF7E0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33" name="Line">
                <a:extLst>
                  <a:ext uri="{FF2B5EF4-FFF2-40B4-BE49-F238E27FC236}">
                    <a16:creationId xmlns:a16="http://schemas.microsoft.com/office/drawing/2014/main" id="{4AEC5F31-9F69-4ECA-B37F-6C1308A6878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">
                <a:extLst>
                  <a:ext uri="{FF2B5EF4-FFF2-40B4-BE49-F238E27FC236}">
                    <a16:creationId xmlns:a16="http://schemas.microsoft.com/office/drawing/2014/main" id="{5E31930B-5E3B-4797-867F-021E11C9AC25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7,76</a:t>
                </a:r>
              </a:p>
            </p:txBody>
          </p:sp>
        </p:grpSp>
      </p:grp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6C2AE5D1-AA43-4F2D-BE89-4F84E200D2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8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34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49FFB5D0-7FC3-4D51-A685-2490283997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ltGray">
          <a:xfrm>
            <a:off x="1598250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5FE92CE-6B60-4670-AF11-6067D062C2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114C7F-44FA-4C88-AAF9-50D7A1F90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3" name="Textplatzhalter 33">
            <a:extLst>
              <a:ext uri="{FF2B5EF4-FFF2-40B4-BE49-F238E27FC236}">
                <a16:creationId xmlns:a16="http://schemas.microsoft.com/office/drawing/2014/main" id="{CFB7D65A-A512-4E7D-BC61-BC30D77B21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1598250" y="27845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37" name="Textplatzhalter 35">
            <a:extLst>
              <a:ext uri="{FF2B5EF4-FFF2-40B4-BE49-F238E27FC236}">
                <a16:creationId xmlns:a16="http://schemas.microsoft.com/office/drawing/2014/main" id="{1AB540FC-01C3-48D9-88D7-7B8B84A65D6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ltGray">
          <a:xfrm>
            <a:off x="1598250" y="28607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6C430255-AD6A-4F37-A368-CD6D8FFB39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4835835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9" name="Textplatzhalter 33">
            <a:extLst>
              <a:ext uri="{FF2B5EF4-FFF2-40B4-BE49-F238E27FC236}">
                <a16:creationId xmlns:a16="http://schemas.microsoft.com/office/drawing/2014/main" id="{AE3251EC-9055-47D6-9093-32C27E20C3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ltGray">
          <a:xfrm>
            <a:off x="4835835" y="27845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BD3D080E-8836-41FA-936A-E2F94D3788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ltGray">
          <a:xfrm>
            <a:off x="4835835" y="28607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EA9A9E81-59D9-4429-BBB9-AD1F6E380E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ltGray">
          <a:xfrm>
            <a:off x="8073421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2" name="Textplatzhalter 33">
            <a:extLst>
              <a:ext uri="{FF2B5EF4-FFF2-40B4-BE49-F238E27FC236}">
                <a16:creationId xmlns:a16="http://schemas.microsoft.com/office/drawing/2014/main" id="{FB7A1CD9-00DB-4E25-8B07-FB60A1C0FA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ltGray">
          <a:xfrm>
            <a:off x="8073421" y="27845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21C0C5EA-7C36-4A45-B2A6-B702817B59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8073421" y="28607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B305D9F7-AA18-483B-A9AB-F99C575563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ltGray">
          <a:xfrm>
            <a:off x="1598250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5" name="Textplatzhalter 33">
            <a:extLst>
              <a:ext uri="{FF2B5EF4-FFF2-40B4-BE49-F238E27FC236}">
                <a16:creationId xmlns:a16="http://schemas.microsoft.com/office/drawing/2014/main" id="{2FC70D29-5C3A-41E4-98FD-1248C1080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ltGray">
          <a:xfrm>
            <a:off x="1598250" y="48038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71332C4F-7F6D-4587-A8D8-618F49D846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ltGray">
          <a:xfrm>
            <a:off x="1598250" y="48800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13919B6D-E8B7-4779-BE6B-C9CB261408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ltGray">
          <a:xfrm>
            <a:off x="4835835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8" name="Textplatzhalter 33">
            <a:extLst>
              <a:ext uri="{FF2B5EF4-FFF2-40B4-BE49-F238E27FC236}">
                <a16:creationId xmlns:a16="http://schemas.microsoft.com/office/drawing/2014/main" id="{DAC61CDE-D680-4D6A-97E7-04DEF2410E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ltGray">
          <a:xfrm>
            <a:off x="4835835" y="48038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9" name="Textplatzhalter 35">
            <a:extLst>
              <a:ext uri="{FF2B5EF4-FFF2-40B4-BE49-F238E27FC236}">
                <a16:creationId xmlns:a16="http://schemas.microsoft.com/office/drawing/2014/main" id="{02A2994B-D22D-48E8-AF86-3A3E48E88E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ltGray">
          <a:xfrm>
            <a:off x="4835835" y="48800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F41D9798-F249-4327-95FE-C4CC8AC11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ltGray">
          <a:xfrm>
            <a:off x="8073421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51" name="Textplatzhalter 33">
            <a:extLst>
              <a:ext uri="{FF2B5EF4-FFF2-40B4-BE49-F238E27FC236}">
                <a16:creationId xmlns:a16="http://schemas.microsoft.com/office/drawing/2014/main" id="{E3C70A56-E43B-4EB4-AA4F-5E0355B60D6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ltGray">
          <a:xfrm>
            <a:off x="8073421" y="48038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52" name="Textplatzhalter 35">
            <a:extLst>
              <a:ext uri="{FF2B5EF4-FFF2-40B4-BE49-F238E27FC236}">
                <a16:creationId xmlns:a16="http://schemas.microsoft.com/office/drawing/2014/main" id="{BBC1EA50-5EC7-47C4-A2E8-60CF418F70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ltGray">
          <a:xfrm>
            <a:off x="8073421" y="48800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546614B2-1CAF-4394-AD27-745FE4029AC1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Grafik 4">
            <a:extLst>
              <a:ext uri="{FF2B5EF4-FFF2-40B4-BE49-F238E27FC236}">
                <a16:creationId xmlns:a16="http://schemas.microsoft.com/office/drawing/2014/main" id="{7C0B09C6-92A7-4CD8-9700-9A6A8EDE28FB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6AE0C4A-7D9D-472E-86BF-3A6740D3DB04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61" name="Hilfslinie">
              <a:extLst>
                <a:ext uri="{FF2B5EF4-FFF2-40B4-BE49-F238E27FC236}">
                  <a16:creationId xmlns:a16="http://schemas.microsoft.com/office/drawing/2014/main" id="{0A6F2E11-1804-4B0F-BBE2-6F6A1FFB420E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74" name="Line">
                <a:extLst>
                  <a:ext uri="{FF2B5EF4-FFF2-40B4-BE49-F238E27FC236}">
                    <a16:creationId xmlns:a16="http://schemas.microsoft.com/office/drawing/2014/main" id="{EDA74730-DA39-4AE6-A521-FBD04C246D3B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">
                <a:extLst>
                  <a:ext uri="{FF2B5EF4-FFF2-40B4-BE49-F238E27FC236}">
                    <a16:creationId xmlns:a16="http://schemas.microsoft.com/office/drawing/2014/main" id="{6CBFF565-EA89-4765-AFBD-7C835AD969BA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62" name="Hilfslinie">
              <a:extLst>
                <a:ext uri="{FF2B5EF4-FFF2-40B4-BE49-F238E27FC236}">
                  <a16:creationId xmlns:a16="http://schemas.microsoft.com/office/drawing/2014/main" id="{BE833AAF-B767-46FA-9606-9C7C1CBE2EAB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72" name="Line">
                <a:extLst>
                  <a:ext uri="{FF2B5EF4-FFF2-40B4-BE49-F238E27FC236}">
                    <a16:creationId xmlns:a16="http://schemas.microsoft.com/office/drawing/2014/main" id="{5066E0BA-D246-43FD-BCEE-B4A757E117F0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">
                <a:extLst>
                  <a:ext uri="{FF2B5EF4-FFF2-40B4-BE49-F238E27FC236}">
                    <a16:creationId xmlns:a16="http://schemas.microsoft.com/office/drawing/2014/main" id="{D11D02FD-2E9A-4296-8ACE-F2B9E5E3F548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63" name="Hilfslinie">
              <a:extLst>
                <a:ext uri="{FF2B5EF4-FFF2-40B4-BE49-F238E27FC236}">
                  <a16:creationId xmlns:a16="http://schemas.microsoft.com/office/drawing/2014/main" id="{324A4F60-1D71-425E-B9DE-AA1B669DAD1C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70" name="Line">
                <a:extLst>
                  <a:ext uri="{FF2B5EF4-FFF2-40B4-BE49-F238E27FC236}">
                    <a16:creationId xmlns:a16="http://schemas.microsoft.com/office/drawing/2014/main" id="{F0F41A97-4A64-4D3C-9558-A05F11E98FA8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">
                <a:extLst>
                  <a:ext uri="{FF2B5EF4-FFF2-40B4-BE49-F238E27FC236}">
                    <a16:creationId xmlns:a16="http://schemas.microsoft.com/office/drawing/2014/main" id="{5BAF4A33-9DBA-4B77-B612-8C4D8ACF6BF3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64" name="Hilfslinie">
              <a:extLst>
                <a:ext uri="{FF2B5EF4-FFF2-40B4-BE49-F238E27FC236}">
                  <a16:creationId xmlns:a16="http://schemas.microsoft.com/office/drawing/2014/main" id="{765B68F8-D096-4FC6-AF5C-1DAE1D40ACF0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68" name="Line">
                <a:extLst>
                  <a:ext uri="{FF2B5EF4-FFF2-40B4-BE49-F238E27FC236}">
                    <a16:creationId xmlns:a16="http://schemas.microsoft.com/office/drawing/2014/main" id="{C7FAB22D-F15A-4513-AB76-47C7B0968157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Text">
                <a:extLst>
                  <a:ext uri="{FF2B5EF4-FFF2-40B4-BE49-F238E27FC236}">
                    <a16:creationId xmlns:a16="http://schemas.microsoft.com/office/drawing/2014/main" id="{8F459B7F-2044-4CC7-808A-19D9FFF95763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65" name="Hilfslinie">
              <a:extLst>
                <a:ext uri="{FF2B5EF4-FFF2-40B4-BE49-F238E27FC236}">
                  <a16:creationId xmlns:a16="http://schemas.microsoft.com/office/drawing/2014/main" id="{256A4821-66F2-47B4-9D32-592FE398749E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66" name="Line">
                <a:extLst>
                  <a:ext uri="{FF2B5EF4-FFF2-40B4-BE49-F238E27FC236}">
                    <a16:creationId xmlns:a16="http://schemas.microsoft.com/office/drawing/2014/main" id="{703B2B5A-4603-404E-8104-83F2D47A86AB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Text">
                <a:extLst>
                  <a:ext uri="{FF2B5EF4-FFF2-40B4-BE49-F238E27FC236}">
                    <a16:creationId xmlns:a16="http://schemas.microsoft.com/office/drawing/2014/main" id="{44D4AA3F-A6BD-44A0-B33E-44E4FCB7AB3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60EE8217-15D0-40AF-8774-A3BEA95D42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79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el 3">
            <a:extLst>
              <a:ext uri="{FF2B5EF4-FFF2-40B4-BE49-F238E27FC236}">
                <a16:creationId xmlns:a16="http://schemas.microsoft.com/office/drawing/2014/main" id="{9C068164-2950-40E7-A283-589A05F1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40883" y="441625"/>
            <a:ext cx="1111023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74" name="Textplatzhalter 4">
            <a:extLst>
              <a:ext uri="{FF2B5EF4-FFF2-40B4-BE49-F238E27FC236}">
                <a16:creationId xmlns:a16="http://schemas.microsoft.com/office/drawing/2014/main" id="{55E87FAD-3DA0-4F5A-B113-C86CE606FD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5" name="Grafik 4">
            <a:extLst>
              <a:ext uri="{FF2B5EF4-FFF2-40B4-BE49-F238E27FC236}">
                <a16:creationId xmlns:a16="http://schemas.microsoft.com/office/drawing/2014/main" id="{4DE42AF6-45F3-4C5E-9354-8068632D2A64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BA936E-8345-48F3-99EB-064137EEC3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94E78E-9313-46DE-A6BA-4607137D93C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F025757-EB0B-4C89-833A-20F64E095FDA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D54EE5D-14A0-4300-A156-8E0E288D7E8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F07880AF-E9A6-47D0-A8C7-986D544CEB1C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41" name="Line">
                <a:extLst>
                  <a:ext uri="{FF2B5EF4-FFF2-40B4-BE49-F238E27FC236}">
                    <a16:creationId xmlns:a16="http://schemas.microsoft.com/office/drawing/2014/main" id="{3FE959B0-8140-430E-9F80-B37A72B156E3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Text">
                <a:extLst>
                  <a:ext uri="{FF2B5EF4-FFF2-40B4-BE49-F238E27FC236}">
                    <a16:creationId xmlns:a16="http://schemas.microsoft.com/office/drawing/2014/main" id="{0AD8E39A-0977-4577-8F22-DB5D832D0124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29" name="Hilfslinie">
              <a:extLst>
                <a:ext uri="{FF2B5EF4-FFF2-40B4-BE49-F238E27FC236}">
                  <a16:creationId xmlns:a16="http://schemas.microsoft.com/office/drawing/2014/main" id="{3E1D78B4-5965-483B-9FC4-CF36BE14FEFA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39" name="Line">
                <a:extLst>
                  <a:ext uri="{FF2B5EF4-FFF2-40B4-BE49-F238E27FC236}">
                    <a16:creationId xmlns:a16="http://schemas.microsoft.com/office/drawing/2014/main" id="{647E22E8-E963-492C-AF5C-DB0C8276152B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">
                <a:extLst>
                  <a:ext uri="{FF2B5EF4-FFF2-40B4-BE49-F238E27FC236}">
                    <a16:creationId xmlns:a16="http://schemas.microsoft.com/office/drawing/2014/main" id="{DDF48DF5-1DFE-41B1-AD98-75B5E8D92AFE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30" name="Hilfslinie">
              <a:extLst>
                <a:ext uri="{FF2B5EF4-FFF2-40B4-BE49-F238E27FC236}">
                  <a16:creationId xmlns:a16="http://schemas.microsoft.com/office/drawing/2014/main" id="{25BD5AD4-076E-46A9-88B6-8D1F6C5015EB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37" name="Line">
                <a:extLst>
                  <a:ext uri="{FF2B5EF4-FFF2-40B4-BE49-F238E27FC236}">
                    <a16:creationId xmlns:a16="http://schemas.microsoft.com/office/drawing/2014/main" id="{CCD84F51-ECC4-4E62-A647-07DE027A52EA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">
                <a:extLst>
                  <a:ext uri="{FF2B5EF4-FFF2-40B4-BE49-F238E27FC236}">
                    <a16:creationId xmlns:a16="http://schemas.microsoft.com/office/drawing/2014/main" id="{BC3EBEDA-1E6D-4800-80C3-5F46D00EB69A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 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8,32</a:t>
                </a:r>
              </a:p>
            </p:txBody>
          </p:sp>
        </p:grpSp>
        <p:grpSp>
          <p:nvGrpSpPr>
            <p:cNvPr id="31" name="Hilfslinie">
              <a:extLst>
                <a:ext uri="{FF2B5EF4-FFF2-40B4-BE49-F238E27FC236}">
                  <a16:creationId xmlns:a16="http://schemas.microsoft.com/office/drawing/2014/main" id="{57B884C9-3A82-41CF-AE32-79786B63744D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35" name="Line">
                <a:extLst>
                  <a:ext uri="{FF2B5EF4-FFF2-40B4-BE49-F238E27FC236}">
                    <a16:creationId xmlns:a16="http://schemas.microsoft.com/office/drawing/2014/main" id="{85081A1C-C5EE-49E1-8CF5-0CA314F780AA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">
                <a:extLst>
                  <a:ext uri="{FF2B5EF4-FFF2-40B4-BE49-F238E27FC236}">
                    <a16:creationId xmlns:a16="http://schemas.microsoft.com/office/drawing/2014/main" id="{A49E2E26-EB2F-4713-B791-4C487F57DCF3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3,74</a:t>
                </a:r>
              </a:p>
            </p:txBody>
          </p:sp>
        </p:grpSp>
        <p:grpSp>
          <p:nvGrpSpPr>
            <p:cNvPr id="32" name="Hilfslinie">
              <a:extLst>
                <a:ext uri="{FF2B5EF4-FFF2-40B4-BE49-F238E27FC236}">
                  <a16:creationId xmlns:a16="http://schemas.microsoft.com/office/drawing/2014/main" id="{BA99E699-1801-4CB2-92DC-F53C5E2BF7E0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33" name="Line">
                <a:extLst>
                  <a:ext uri="{FF2B5EF4-FFF2-40B4-BE49-F238E27FC236}">
                    <a16:creationId xmlns:a16="http://schemas.microsoft.com/office/drawing/2014/main" id="{4AEC5F31-9F69-4ECA-B37F-6C1308A6878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">
                <a:extLst>
                  <a:ext uri="{FF2B5EF4-FFF2-40B4-BE49-F238E27FC236}">
                    <a16:creationId xmlns:a16="http://schemas.microsoft.com/office/drawing/2014/main" id="{5E31930B-5E3B-4797-867F-021E11C9AC25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7,76</a:t>
                </a:r>
              </a:p>
            </p:txBody>
          </p:sp>
        </p:grpSp>
      </p:grp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6C2AE5D1-AA43-4F2D-BE89-4F84E200D2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383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49FFB5D0-7FC3-4D51-A685-2490283997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598250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/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 noProof="0"/>
              <a:t>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5FE92CE-6B60-4670-AF11-6067D062C2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114C7F-44FA-4C88-AAF9-50D7A1F90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33" name="Textplatzhalter 33">
            <a:extLst>
              <a:ext uri="{FF2B5EF4-FFF2-40B4-BE49-F238E27FC236}">
                <a16:creationId xmlns:a16="http://schemas.microsoft.com/office/drawing/2014/main" id="{CFB7D65A-A512-4E7D-BC61-BC30D77B21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98250" y="2784532"/>
            <a:ext cx="2520328" cy="0"/>
          </a:xfrm>
          <a:ln w="1270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7" name="Textplatzhalter 35">
            <a:extLst>
              <a:ext uri="{FF2B5EF4-FFF2-40B4-BE49-F238E27FC236}">
                <a16:creationId xmlns:a16="http://schemas.microsoft.com/office/drawing/2014/main" id="{1AB540FC-01C3-48D9-88D7-7B8B84A65D6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598250" y="2860732"/>
            <a:ext cx="2520328" cy="754062"/>
          </a:xfrm>
        </p:spPr>
        <p:txBody>
          <a:bodyPr tIns="18000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6C430255-AD6A-4F37-A368-CD6D8FFB39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35835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9" name="Textplatzhalter 33">
            <a:extLst>
              <a:ext uri="{FF2B5EF4-FFF2-40B4-BE49-F238E27FC236}">
                <a16:creationId xmlns:a16="http://schemas.microsoft.com/office/drawing/2014/main" id="{AE3251EC-9055-47D6-9093-32C27E20C3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35835" y="2784532"/>
            <a:ext cx="2520328" cy="0"/>
          </a:xfr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BD3D080E-8836-41FA-936A-E2F94D3788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835835" y="2860732"/>
            <a:ext cx="2520328" cy="754062"/>
          </a:xfrm>
        </p:spPr>
        <p:txBody>
          <a:bodyPr tIns="18000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EA9A9E81-59D9-4429-BBB9-AD1F6E380E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073421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2" name="Textplatzhalter 33">
            <a:extLst>
              <a:ext uri="{FF2B5EF4-FFF2-40B4-BE49-F238E27FC236}">
                <a16:creationId xmlns:a16="http://schemas.microsoft.com/office/drawing/2014/main" id="{FB7A1CD9-00DB-4E25-8B07-FB60A1C0FA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73421" y="2784532"/>
            <a:ext cx="2520328" cy="0"/>
          </a:xfr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21C0C5EA-7C36-4A45-B2A6-B702817B59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73421" y="2860732"/>
            <a:ext cx="2520328" cy="754062"/>
          </a:xfrm>
        </p:spPr>
        <p:txBody>
          <a:bodyPr tIns="18000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B305D9F7-AA18-483B-A9AB-F99C575563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598250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5" name="Textplatzhalter 33">
            <a:extLst>
              <a:ext uri="{FF2B5EF4-FFF2-40B4-BE49-F238E27FC236}">
                <a16:creationId xmlns:a16="http://schemas.microsoft.com/office/drawing/2014/main" id="{2FC70D29-5C3A-41E4-98FD-1248C1080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598250" y="4803832"/>
            <a:ext cx="2520328" cy="0"/>
          </a:xfr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71332C4F-7F6D-4587-A8D8-618F49D846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598250" y="4880032"/>
            <a:ext cx="2520328" cy="754062"/>
          </a:xfrm>
        </p:spPr>
        <p:txBody>
          <a:bodyPr tIns="18000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13919B6D-E8B7-4779-BE6B-C9CB261408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835835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8" name="Textplatzhalter 33">
            <a:extLst>
              <a:ext uri="{FF2B5EF4-FFF2-40B4-BE49-F238E27FC236}">
                <a16:creationId xmlns:a16="http://schemas.microsoft.com/office/drawing/2014/main" id="{DAC61CDE-D680-4D6A-97E7-04DEF2410E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835835" y="4803832"/>
            <a:ext cx="2520328" cy="0"/>
          </a:xfrm>
          <a:ln w="12700">
            <a:solidFill>
              <a:schemeClr val="bg2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9" name="Textplatzhalter 35">
            <a:extLst>
              <a:ext uri="{FF2B5EF4-FFF2-40B4-BE49-F238E27FC236}">
                <a16:creationId xmlns:a16="http://schemas.microsoft.com/office/drawing/2014/main" id="{02A2994B-D22D-48E8-AF86-3A3E48E88E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835835" y="4880032"/>
            <a:ext cx="2520328" cy="754062"/>
          </a:xfrm>
        </p:spPr>
        <p:txBody>
          <a:bodyPr tIns="18000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F41D9798-F249-4327-95FE-C4CC8AC11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073421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51" name="Textplatzhalter 33">
            <a:extLst>
              <a:ext uri="{FF2B5EF4-FFF2-40B4-BE49-F238E27FC236}">
                <a16:creationId xmlns:a16="http://schemas.microsoft.com/office/drawing/2014/main" id="{E3C70A56-E43B-4EB4-AA4F-5E0355B60D6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073421" y="4803832"/>
            <a:ext cx="2520328" cy="0"/>
          </a:xfrm>
          <a:ln w="1270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2" name="Textplatzhalter 35">
            <a:extLst>
              <a:ext uri="{FF2B5EF4-FFF2-40B4-BE49-F238E27FC236}">
                <a16:creationId xmlns:a16="http://schemas.microsoft.com/office/drawing/2014/main" id="{BBC1EA50-5EC7-47C4-A2E8-60CF418F70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073421" y="4880032"/>
            <a:ext cx="2520328" cy="754062"/>
          </a:xfrm>
        </p:spPr>
        <p:txBody>
          <a:bodyPr tIns="180000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C4578132-A840-40F9-B00E-17F1CC69CBE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661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Column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ltGray">
          <a:xfrm>
            <a:off x="540881" y="2078917"/>
            <a:ext cx="11109710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F75B691-7AA0-4E2A-80AD-247B16F6D022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fik 4">
            <a:extLst>
              <a:ext uri="{FF2B5EF4-FFF2-40B4-BE49-F238E27FC236}">
                <a16:creationId xmlns:a16="http://schemas.microsoft.com/office/drawing/2014/main" id="{AED6C0B9-4D26-4F15-9803-4432E0494D3C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55F48F1-7876-453E-8A50-3740BC4B0AAF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BC87C4EA-ABF3-448C-AC23-6352C6A37DF2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7" name="Hilfslinie">
              <a:extLst>
                <a:ext uri="{FF2B5EF4-FFF2-40B4-BE49-F238E27FC236}">
                  <a16:creationId xmlns:a16="http://schemas.microsoft.com/office/drawing/2014/main" id="{5F112F2C-1CBD-4A32-B701-F3C4553EF9B8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6" name="Line">
                <a:extLst>
                  <a:ext uri="{FF2B5EF4-FFF2-40B4-BE49-F238E27FC236}">
                    <a16:creationId xmlns:a16="http://schemas.microsoft.com/office/drawing/2014/main" id="{F96D7B1E-8499-4DC4-B167-C0CB46779EC6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">
                <a:extLst>
                  <a:ext uri="{FF2B5EF4-FFF2-40B4-BE49-F238E27FC236}">
                    <a16:creationId xmlns:a16="http://schemas.microsoft.com/office/drawing/2014/main" id="{3528EA51-7792-4DA9-81F9-2CBB0BFB1DB6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64B0612B-2A0D-40B2-B80F-74F85A060A06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0B279B65-79D6-41E2-B0AE-C57198935331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A77DAD84-A941-4D4F-86D1-7721B1721F10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5DA544A4-87EC-4391-B053-CE7CBDDEA8F9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9A1FF965-A283-4150-8DA1-69BDD44E298C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68C50DBE-213A-4028-9C71-09FCFF77A42E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6" name="Hilfslinie">
              <a:extLst>
                <a:ext uri="{FF2B5EF4-FFF2-40B4-BE49-F238E27FC236}">
                  <a16:creationId xmlns:a16="http://schemas.microsoft.com/office/drawing/2014/main" id="{F32C801A-FD3F-46A2-B90B-1D6641294B8A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4A047328-1452-45FB-AB2A-E3B5A54B0E38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CDDCC8BB-874C-4624-B7A8-1618A3686769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7" name="Hilfslinie">
              <a:extLst>
                <a:ext uri="{FF2B5EF4-FFF2-40B4-BE49-F238E27FC236}">
                  <a16:creationId xmlns:a16="http://schemas.microsoft.com/office/drawing/2014/main" id="{C026467A-3927-456A-80BD-4EA39B2EAA9C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CC5FAC50-9EA5-4F6A-B378-A6C11F30B42D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96E8ECDC-0F27-4428-B7AC-DABE8DBC666D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1AD21386-3209-4FE4-B632-14EC7A04179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35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F75B691-7AA0-4E2A-80AD-247B16F6D022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fik 4">
            <a:extLst>
              <a:ext uri="{FF2B5EF4-FFF2-40B4-BE49-F238E27FC236}">
                <a16:creationId xmlns:a16="http://schemas.microsoft.com/office/drawing/2014/main" id="{AED6C0B9-4D26-4F15-9803-4432E0494D3C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55F48F1-7876-453E-8A50-3740BC4B0AAF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">
            <a:extLst>
              <a:ext uri="{FF2B5EF4-FFF2-40B4-BE49-F238E27FC236}">
                <a16:creationId xmlns:a16="http://schemas.microsoft.com/office/drawing/2014/main" id="{2B394FDB-6931-4401-A336-A96D4E801E5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540882" y="2078917"/>
            <a:ext cx="5285082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2" name="Inhalt">
            <a:extLst>
              <a:ext uri="{FF2B5EF4-FFF2-40B4-BE49-F238E27FC236}">
                <a16:creationId xmlns:a16="http://schemas.microsoft.com/office/drawing/2014/main" id="{2E22F10A-118F-4477-9AE5-7E1EAA50FE2E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ltGray">
          <a:xfrm>
            <a:off x="6365509" y="2078917"/>
            <a:ext cx="5285082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861A4D-9767-4318-9423-3B9A979588B5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B56C566B-D272-4DCC-8DDC-82D6EB6FCB6C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9" name="Line">
                <a:extLst>
                  <a:ext uri="{FF2B5EF4-FFF2-40B4-BE49-F238E27FC236}">
                    <a16:creationId xmlns:a16="http://schemas.microsoft.com/office/drawing/2014/main" id="{D1B3BDF5-EFAE-4C01-8187-D04B11F0F734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">
                <a:extLst>
                  <a:ext uri="{FF2B5EF4-FFF2-40B4-BE49-F238E27FC236}">
                    <a16:creationId xmlns:a16="http://schemas.microsoft.com/office/drawing/2014/main" id="{2D8F2B9D-B9EA-4BA7-840A-2E79F12F79AE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29" name="Hilfslinie">
              <a:extLst>
                <a:ext uri="{FF2B5EF4-FFF2-40B4-BE49-F238E27FC236}">
                  <a16:creationId xmlns:a16="http://schemas.microsoft.com/office/drawing/2014/main" id="{44F9E306-2BBF-4A6D-A51B-A9F3C49A1EBE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7" name="Line">
                <a:extLst>
                  <a:ext uri="{FF2B5EF4-FFF2-40B4-BE49-F238E27FC236}">
                    <a16:creationId xmlns:a16="http://schemas.microsoft.com/office/drawing/2014/main" id="{255DAC2D-B5ED-4E40-9BF2-4DB4A2D7A32E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">
                <a:extLst>
                  <a:ext uri="{FF2B5EF4-FFF2-40B4-BE49-F238E27FC236}">
                    <a16:creationId xmlns:a16="http://schemas.microsoft.com/office/drawing/2014/main" id="{CE5393D1-9188-429D-BF45-0496984E0E8F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30" name="Hilfslinie">
              <a:extLst>
                <a:ext uri="{FF2B5EF4-FFF2-40B4-BE49-F238E27FC236}">
                  <a16:creationId xmlns:a16="http://schemas.microsoft.com/office/drawing/2014/main" id="{4A984949-B093-4C5C-AA97-ED5F9F0FC5EA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F2E06375-2AAC-46AB-8359-1891F480E983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D7A44CDE-D44F-48F4-B555-B79D6D74BC74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9" name="Hilfslinie">
              <a:extLst>
                <a:ext uri="{FF2B5EF4-FFF2-40B4-BE49-F238E27FC236}">
                  <a16:creationId xmlns:a16="http://schemas.microsoft.com/office/drawing/2014/main" id="{4C66226A-F72C-43FA-A4C7-BC21919EABE6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993446FE-50AB-4515-9654-46BAA32292CF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6A9B13BA-AEEB-4E9E-8B23-444A45256BF1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36488184-6143-4B75-AD59-1F47D9867CD0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1" name="Line">
                <a:extLst>
                  <a:ext uri="{FF2B5EF4-FFF2-40B4-BE49-F238E27FC236}">
                    <a16:creationId xmlns:a16="http://schemas.microsoft.com/office/drawing/2014/main" id="{15672DE0-2EFC-4BDD-9725-28EC5BA0227C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">
                <a:extLst>
                  <a:ext uri="{FF2B5EF4-FFF2-40B4-BE49-F238E27FC236}">
                    <a16:creationId xmlns:a16="http://schemas.microsoft.com/office/drawing/2014/main" id="{9171452D-0527-4F28-B691-686034D76062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170E3023-0B23-4CC0-94CC-890D102975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F75B691-7AA0-4E2A-80AD-247B16F6D022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fik 4">
            <a:extLst>
              <a:ext uri="{FF2B5EF4-FFF2-40B4-BE49-F238E27FC236}">
                <a16:creationId xmlns:a16="http://schemas.microsoft.com/office/drawing/2014/main" id="{AED6C0B9-4D26-4F15-9803-4432E0494D3C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55F48F1-7876-453E-8A50-3740BC4B0AAF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">
            <a:extLst>
              <a:ext uri="{FF2B5EF4-FFF2-40B4-BE49-F238E27FC236}">
                <a16:creationId xmlns:a16="http://schemas.microsoft.com/office/drawing/2014/main" id="{5222CE5E-6060-493D-A6C2-83B5E27BC27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540882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29" name="Inhalt">
            <a:extLst>
              <a:ext uri="{FF2B5EF4-FFF2-40B4-BE49-F238E27FC236}">
                <a16:creationId xmlns:a16="http://schemas.microsoft.com/office/drawing/2014/main" id="{CCD860CB-0D16-4077-81B1-190B97695620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ltGray">
          <a:xfrm>
            <a:off x="4424189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0" name="Inhalt">
            <a:extLst>
              <a:ext uri="{FF2B5EF4-FFF2-40B4-BE49-F238E27FC236}">
                <a16:creationId xmlns:a16="http://schemas.microsoft.com/office/drawing/2014/main" id="{9F394F4F-BE2C-43DE-97AD-462B59D8EC71}"/>
              </a:ext>
            </a:extLst>
          </p:cNvPr>
          <p:cNvSpPr>
            <a:spLocks noGrp="1"/>
          </p:cNvSpPr>
          <p:nvPr>
            <p:ph idx="20" hasCustomPrompt="1"/>
          </p:nvPr>
        </p:nvSpPr>
        <p:spPr bwMode="ltGray">
          <a:xfrm>
            <a:off x="8307495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FC9C08D-D5BC-4C2F-A3FB-10825197F5F1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8" name="Hilfslinie">
              <a:extLst>
                <a:ext uri="{FF2B5EF4-FFF2-40B4-BE49-F238E27FC236}">
                  <a16:creationId xmlns:a16="http://schemas.microsoft.com/office/drawing/2014/main" id="{E11D268B-5E54-423C-A1B5-75600C1D8F72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61" name="Line">
                <a:extLst>
                  <a:ext uri="{FF2B5EF4-FFF2-40B4-BE49-F238E27FC236}">
                    <a16:creationId xmlns:a16="http://schemas.microsoft.com/office/drawing/2014/main" id="{C53C93AC-09E6-45FE-9950-ABDBEBBB186B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">
                <a:extLst>
                  <a:ext uri="{FF2B5EF4-FFF2-40B4-BE49-F238E27FC236}">
                    <a16:creationId xmlns:a16="http://schemas.microsoft.com/office/drawing/2014/main" id="{10D3DC5C-A0D7-408B-81F4-0BFCD68B0531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9" name="Hilfslinie">
              <a:extLst>
                <a:ext uri="{FF2B5EF4-FFF2-40B4-BE49-F238E27FC236}">
                  <a16:creationId xmlns:a16="http://schemas.microsoft.com/office/drawing/2014/main" id="{D70E1F88-71D2-4056-B480-B7ABB614D933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9" name="Line">
                <a:extLst>
                  <a:ext uri="{FF2B5EF4-FFF2-40B4-BE49-F238E27FC236}">
                    <a16:creationId xmlns:a16="http://schemas.microsoft.com/office/drawing/2014/main" id="{73873AD0-32F9-4C7F-81F9-61CB295B087E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">
                <a:extLst>
                  <a:ext uri="{FF2B5EF4-FFF2-40B4-BE49-F238E27FC236}">
                    <a16:creationId xmlns:a16="http://schemas.microsoft.com/office/drawing/2014/main" id="{544BF65E-D7B9-43F6-BEA8-6AEF24C6454F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5BE257D5-B5D1-4CB4-B330-072B1F93E763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7" name="Line">
                <a:extLst>
                  <a:ext uri="{FF2B5EF4-FFF2-40B4-BE49-F238E27FC236}">
                    <a16:creationId xmlns:a16="http://schemas.microsoft.com/office/drawing/2014/main" id="{463C2D75-C249-4CBD-A817-2550D1E71CF1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">
                <a:extLst>
                  <a:ext uri="{FF2B5EF4-FFF2-40B4-BE49-F238E27FC236}">
                    <a16:creationId xmlns:a16="http://schemas.microsoft.com/office/drawing/2014/main" id="{FB2921C3-DAB6-4BD0-BBE0-24E00558D98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51" name="Hilfslinie">
              <a:extLst>
                <a:ext uri="{FF2B5EF4-FFF2-40B4-BE49-F238E27FC236}">
                  <a16:creationId xmlns:a16="http://schemas.microsoft.com/office/drawing/2014/main" id="{85F41E88-BC13-4379-B45A-596F97668B61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7EF225FF-6ED1-4615-9833-217F7D7E07AF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7B12CC60-527C-43E4-8986-F20BA9F31CBC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2" name="Hilfslinie">
              <a:extLst>
                <a:ext uri="{FF2B5EF4-FFF2-40B4-BE49-F238E27FC236}">
                  <a16:creationId xmlns:a16="http://schemas.microsoft.com/office/drawing/2014/main" id="{842BC8A5-7012-415E-AA69-43C2339EDF3B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2B73B5C7-E56A-4393-9B59-17622A8F3D09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BC340747-BF23-47CD-8464-87AC9D118BE4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BAA1521A-67CE-409D-9099-FB73D4018B5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67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Full Size Picture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ildplatzhalter 5">
            <a:extLst>
              <a:ext uri="{FF2B5EF4-FFF2-40B4-BE49-F238E27FC236}">
                <a16:creationId xmlns:a16="http://schemas.microsoft.com/office/drawing/2014/main" id="{2C931CC9-B0B5-44C4-AF7C-D05FD5A3F6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1" y="0"/>
            <a:ext cx="12192000" cy="6858000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FCFEC8A-B75E-413E-87D4-D2B5AF580A9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ltGray">
          <a:xfrm>
            <a:off x="1" y="0"/>
            <a:ext cx="12191994" cy="6858000"/>
          </a:xfrm>
          <a:gradFill>
            <a:gsLst>
              <a:gs pos="0">
                <a:schemeClr val="accent6">
                  <a:alpha val="50000"/>
                </a:schemeClr>
              </a:gs>
              <a:gs pos="100000">
                <a:schemeClr val="tx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32B62582-732E-46F7-BE48-25623807BC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262D2DB-5BCF-48C0-B16C-0CF27373F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BEB12A67-DB13-4685-8280-8810E5737AA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ltGray">
          <a:xfrm>
            <a:off x="10751002" y="6450741"/>
            <a:ext cx="900117" cy="187875"/>
          </a:xfrm>
          <a:blipFill>
            <a:blip r:embed="rId2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7F060350-D0B7-4503-AE56-CF2914880D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ltGray">
          <a:xfrm>
            <a:off x="865374" y="6472457"/>
            <a:ext cx="0" cy="144000"/>
          </a:xfr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C203FEE-57FD-49A5-8B91-0DD9746BE9D9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7" name="Hilfslinie">
              <a:extLst>
                <a:ext uri="{FF2B5EF4-FFF2-40B4-BE49-F238E27FC236}">
                  <a16:creationId xmlns:a16="http://schemas.microsoft.com/office/drawing/2014/main" id="{616C6312-6250-417C-825B-D313A0443BC3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60" name="Line">
                <a:extLst>
                  <a:ext uri="{FF2B5EF4-FFF2-40B4-BE49-F238E27FC236}">
                    <a16:creationId xmlns:a16="http://schemas.microsoft.com/office/drawing/2014/main" id="{49E786E7-0049-4BD9-B0FE-74518212E16C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">
                <a:extLst>
                  <a:ext uri="{FF2B5EF4-FFF2-40B4-BE49-F238E27FC236}">
                    <a16:creationId xmlns:a16="http://schemas.microsoft.com/office/drawing/2014/main" id="{2C8AC6BB-13F9-4FD1-8A74-72D75B37998D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8" name="Hilfslinie">
              <a:extLst>
                <a:ext uri="{FF2B5EF4-FFF2-40B4-BE49-F238E27FC236}">
                  <a16:creationId xmlns:a16="http://schemas.microsoft.com/office/drawing/2014/main" id="{D7561153-AC4B-4ECB-BA7E-96D81D6A5434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8" name="Line">
                <a:extLst>
                  <a:ext uri="{FF2B5EF4-FFF2-40B4-BE49-F238E27FC236}">
                    <a16:creationId xmlns:a16="http://schemas.microsoft.com/office/drawing/2014/main" id="{D1A4EF92-A7D5-4052-931B-CB5EA541AF31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">
                <a:extLst>
                  <a:ext uri="{FF2B5EF4-FFF2-40B4-BE49-F238E27FC236}">
                    <a16:creationId xmlns:a16="http://schemas.microsoft.com/office/drawing/2014/main" id="{15F449C1-B717-4774-B017-AF43C3B81B91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9" name="Hilfslinie">
              <a:extLst>
                <a:ext uri="{FF2B5EF4-FFF2-40B4-BE49-F238E27FC236}">
                  <a16:creationId xmlns:a16="http://schemas.microsoft.com/office/drawing/2014/main" id="{BE50776D-527B-431E-9BB5-4B2826A1D53D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6" name="Line">
                <a:extLst>
                  <a:ext uri="{FF2B5EF4-FFF2-40B4-BE49-F238E27FC236}">
                    <a16:creationId xmlns:a16="http://schemas.microsoft.com/office/drawing/2014/main" id="{E310781D-5DF0-4815-BA4B-4A60D91B8F1D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">
                <a:extLst>
                  <a:ext uri="{FF2B5EF4-FFF2-40B4-BE49-F238E27FC236}">
                    <a16:creationId xmlns:a16="http://schemas.microsoft.com/office/drawing/2014/main" id="{F9692113-E6A6-45C0-BA31-CBF5F9DAC3F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93961D97-93D5-47DA-9873-EBD882A7BAB9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864B329A-7E79-40F3-87E8-E66A8911C723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2EB70B81-9AEE-4818-9DD1-3C4B9F172CF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1" name="Hilfslinie">
              <a:extLst>
                <a:ext uri="{FF2B5EF4-FFF2-40B4-BE49-F238E27FC236}">
                  <a16:creationId xmlns:a16="http://schemas.microsoft.com/office/drawing/2014/main" id="{83AC7040-E48A-4414-A694-ABAD72786C1A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64E9B933-64CC-4F8C-9446-318C11B98182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7A382FD2-C566-4990-BFD8-78C9EE529A78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grpSp>
        <p:nvGrpSpPr>
          <p:cNvPr id="30" name="Gruppieren 1">
            <a:extLst>
              <a:ext uri="{FF2B5EF4-FFF2-40B4-BE49-F238E27FC236}">
                <a16:creationId xmlns:a16="http://schemas.microsoft.com/office/drawing/2014/main" id="{B5E979DF-4C8C-47BB-A931-8B43363CBC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4207179"/>
            <a:chOff x="12427519" y="121759"/>
            <a:chExt cx="2016001" cy="4207179"/>
          </a:xfrm>
        </p:grpSpPr>
        <p:sp>
          <p:nvSpPr>
            <p:cNvPr id="31" name="Textfeld 22">
              <a:extLst>
                <a:ext uri="{FF2B5EF4-FFF2-40B4-BE49-F238E27FC236}">
                  <a16:creationId xmlns:a16="http://schemas.microsoft.com/office/drawing/2014/main" id="{A3A30982-BA49-446B-82A1-B2010F772CF8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3789105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Move the element above the picture placeholder a bit to the left or right (while holding down the SHIFT key) to get to the picture placeholder symbol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After you have inserted the picture, move the element back to the original position (Select both elements and use the "Align" tool)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32" name="Gruppieren 23">
              <a:extLst>
                <a:ext uri="{FF2B5EF4-FFF2-40B4-BE49-F238E27FC236}">
                  <a16:creationId xmlns:a16="http://schemas.microsoft.com/office/drawing/2014/main" id="{5E9C46BD-58BB-4868-8339-C8381C8CF6D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34" name="Freihandform: Form 24">
                <a:extLst>
                  <a:ext uri="{FF2B5EF4-FFF2-40B4-BE49-F238E27FC236}">
                    <a16:creationId xmlns:a16="http://schemas.microsoft.com/office/drawing/2014/main" id="{681C96EB-736D-4BF2-AFFA-A0E9B4B65B8E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35" name="Gruppieren 25">
                <a:extLst>
                  <a:ext uri="{FF2B5EF4-FFF2-40B4-BE49-F238E27FC236}">
                    <a16:creationId xmlns:a16="http://schemas.microsoft.com/office/drawing/2014/main" id="{46C7A680-739B-4BB8-81DB-2306A699684A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36" name="Gerader Verbinder 26">
                  <a:extLst>
                    <a:ext uri="{FF2B5EF4-FFF2-40B4-BE49-F238E27FC236}">
                      <a16:creationId xmlns:a16="http://schemas.microsoft.com/office/drawing/2014/main" id="{5294902D-FACC-47F4-910B-E3213D8A7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7" name="Gerader Verbinder 27">
                  <a:extLst>
                    <a:ext uri="{FF2B5EF4-FFF2-40B4-BE49-F238E27FC236}">
                      <a16:creationId xmlns:a16="http://schemas.microsoft.com/office/drawing/2014/main" id="{7630BE32-9FA7-4424-A7FA-309F23A30C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8" name="Gerader Verbinder 28">
                  <a:extLst>
                    <a:ext uri="{FF2B5EF4-FFF2-40B4-BE49-F238E27FC236}">
                      <a16:creationId xmlns:a16="http://schemas.microsoft.com/office/drawing/2014/main" id="{9FC6207E-1D66-4C9F-BB1E-0212B3D45AB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9" name="Gerader Verbinder 29">
                  <a:extLst>
                    <a:ext uri="{FF2B5EF4-FFF2-40B4-BE49-F238E27FC236}">
                      <a16:creationId xmlns:a16="http://schemas.microsoft.com/office/drawing/2014/main" id="{F8225EAA-F373-4A5C-A5CE-AF2BA78DB5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33" name="Gerader Verbinder 31">
              <a:extLst>
                <a:ext uri="{FF2B5EF4-FFF2-40B4-BE49-F238E27FC236}">
                  <a16:creationId xmlns:a16="http://schemas.microsoft.com/office/drawing/2014/main" id="{D3168832-A3DE-4C87-972B-E9B5D2675A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B56F20F1-1676-4A6B-8A5D-01DBB45A313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505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49FFB5D0-7FC3-4D51-A685-2490283997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ltGray">
          <a:xfrm>
            <a:off x="1598250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5FE92CE-6B60-4670-AF11-6067D062C2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AD114C7F-44FA-4C88-AAF9-50D7A1F90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3" name="Textplatzhalter 33">
            <a:extLst>
              <a:ext uri="{FF2B5EF4-FFF2-40B4-BE49-F238E27FC236}">
                <a16:creationId xmlns:a16="http://schemas.microsoft.com/office/drawing/2014/main" id="{CFB7D65A-A512-4E7D-BC61-BC30D77B21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1598250" y="27845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37" name="Textplatzhalter 35">
            <a:extLst>
              <a:ext uri="{FF2B5EF4-FFF2-40B4-BE49-F238E27FC236}">
                <a16:creationId xmlns:a16="http://schemas.microsoft.com/office/drawing/2014/main" id="{1AB540FC-01C3-48D9-88D7-7B8B84A65D6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ltGray">
          <a:xfrm>
            <a:off x="1598250" y="28607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6C430255-AD6A-4F37-A368-CD6D8FFB39A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ltGray">
          <a:xfrm>
            <a:off x="4835835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9" name="Textplatzhalter 33">
            <a:extLst>
              <a:ext uri="{FF2B5EF4-FFF2-40B4-BE49-F238E27FC236}">
                <a16:creationId xmlns:a16="http://schemas.microsoft.com/office/drawing/2014/main" id="{AE3251EC-9055-47D6-9093-32C27E20C30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ltGray">
          <a:xfrm>
            <a:off x="4835835" y="27845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0" name="Textplatzhalter 35">
            <a:extLst>
              <a:ext uri="{FF2B5EF4-FFF2-40B4-BE49-F238E27FC236}">
                <a16:creationId xmlns:a16="http://schemas.microsoft.com/office/drawing/2014/main" id="{BD3D080E-8836-41FA-936A-E2F94D3788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ltGray">
          <a:xfrm>
            <a:off x="4835835" y="28607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EA9A9E81-59D9-4429-BBB9-AD1F6E380E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ltGray">
          <a:xfrm>
            <a:off x="8073421" y="20812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2" name="Textplatzhalter 33">
            <a:extLst>
              <a:ext uri="{FF2B5EF4-FFF2-40B4-BE49-F238E27FC236}">
                <a16:creationId xmlns:a16="http://schemas.microsoft.com/office/drawing/2014/main" id="{FB7A1CD9-00DB-4E25-8B07-FB60A1C0FAA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ltGray">
          <a:xfrm>
            <a:off x="8073421" y="27845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3" name="Textplatzhalter 35">
            <a:extLst>
              <a:ext uri="{FF2B5EF4-FFF2-40B4-BE49-F238E27FC236}">
                <a16:creationId xmlns:a16="http://schemas.microsoft.com/office/drawing/2014/main" id="{21C0C5EA-7C36-4A45-B2A6-B702817B59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ltGray">
          <a:xfrm>
            <a:off x="8073421" y="28607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B305D9F7-AA18-483B-A9AB-F99C575563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ltGray">
          <a:xfrm>
            <a:off x="1598250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5" name="Textplatzhalter 33">
            <a:extLst>
              <a:ext uri="{FF2B5EF4-FFF2-40B4-BE49-F238E27FC236}">
                <a16:creationId xmlns:a16="http://schemas.microsoft.com/office/drawing/2014/main" id="{2FC70D29-5C3A-41E4-98FD-1248C1080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ltGray">
          <a:xfrm>
            <a:off x="1598250" y="48038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6" name="Textplatzhalter 35">
            <a:extLst>
              <a:ext uri="{FF2B5EF4-FFF2-40B4-BE49-F238E27FC236}">
                <a16:creationId xmlns:a16="http://schemas.microsoft.com/office/drawing/2014/main" id="{71332C4F-7F6D-4587-A8D8-618F49D8460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ltGray">
          <a:xfrm>
            <a:off x="1598250" y="48800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13919B6D-E8B7-4779-BE6B-C9CB2614080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ltGray">
          <a:xfrm>
            <a:off x="4835835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48" name="Textplatzhalter 33">
            <a:extLst>
              <a:ext uri="{FF2B5EF4-FFF2-40B4-BE49-F238E27FC236}">
                <a16:creationId xmlns:a16="http://schemas.microsoft.com/office/drawing/2014/main" id="{DAC61CDE-D680-4D6A-97E7-04DEF2410E4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ltGray">
          <a:xfrm>
            <a:off x="4835835" y="48038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49" name="Textplatzhalter 35">
            <a:extLst>
              <a:ext uri="{FF2B5EF4-FFF2-40B4-BE49-F238E27FC236}">
                <a16:creationId xmlns:a16="http://schemas.microsoft.com/office/drawing/2014/main" id="{02A2994B-D22D-48E8-AF86-3A3E48E88E5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ltGray">
          <a:xfrm>
            <a:off x="4835835" y="48800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F41D9798-F249-4327-95FE-C4CC8AC1146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ltGray">
          <a:xfrm>
            <a:off x="8073421" y="4100512"/>
            <a:ext cx="2520328" cy="648000"/>
          </a:xfrm>
        </p:spPr>
        <p:txBody>
          <a:bodyPr tIns="0" bIns="144000" anchor="b" anchorCtr="0"/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51" name="Textplatzhalter 33">
            <a:extLst>
              <a:ext uri="{FF2B5EF4-FFF2-40B4-BE49-F238E27FC236}">
                <a16:creationId xmlns:a16="http://schemas.microsoft.com/office/drawing/2014/main" id="{E3C70A56-E43B-4EB4-AA4F-5E0355B60D6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ltGray">
          <a:xfrm>
            <a:off x="8073421" y="4803832"/>
            <a:ext cx="2520328" cy="0"/>
          </a:xfrm>
          <a:ln w="6350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108000" rIns="0" bIns="0" rtlCol="0">
            <a:noAutofit/>
          </a:bodyPr>
          <a:lstStyle>
            <a:lvl1pPr marL="0" indent="0">
              <a:buNone/>
              <a:defRPr lang="en-US" dirty="0"/>
            </a:lvl1pPr>
          </a:lstStyle>
          <a:p>
            <a:pPr marL="270000" lvl="0" indent="-270000"/>
            <a:r>
              <a:rPr lang="en-US" noProof="0"/>
              <a:t> </a:t>
            </a:r>
          </a:p>
        </p:txBody>
      </p:sp>
      <p:sp>
        <p:nvSpPr>
          <p:cNvPr id="52" name="Textplatzhalter 35">
            <a:extLst>
              <a:ext uri="{FF2B5EF4-FFF2-40B4-BE49-F238E27FC236}">
                <a16:creationId xmlns:a16="http://schemas.microsoft.com/office/drawing/2014/main" id="{BBC1EA50-5EC7-47C4-A2E8-60CF418F709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ltGray">
          <a:xfrm>
            <a:off x="8073421" y="4880032"/>
            <a:ext cx="2520328" cy="754062"/>
          </a:xfrm>
        </p:spPr>
        <p:txBody>
          <a:bodyPr tIns="180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546614B2-1CAF-4394-AD27-745FE4029AC1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Grafik 4">
            <a:extLst>
              <a:ext uri="{FF2B5EF4-FFF2-40B4-BE49-F238E27FC236}">
                <a16:creationId xmlns:a16="http://schemas.microsoft.com/office/drawing/2014/main" id="{7C0B09C6-92A7-4CD8-9700-9A6A8EDE28FB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16AE0C4A-7D9D-472E-86BF-3A6740D3DB04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61" name="Hilfslinie">
              <a:extLst>
                <a:ext uri="{FF2B5EF4-FFF2-40B4-BE49-F238E27FC236}">
                  <a16:creationId xmlns:a16="http://schemas.microsoft.com/office/drawing/2014/main" id="{0A6F2E11-1804-4B0F-BBE2-6F6A1FFB420E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74" name="Line">
                <a:extLst>
                  <a:ext uri="{FF2B5EF4-FFF2-40B4-BE49-F238E27FC236}">
                    <a16:creationId xmlns:a16="http://schemas.microsoft.com/office/drawing/2014/main" id="{EDA74730-DA39-4AE6-A521-FBD04C246D3B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5" name="Text">
                <a:extLst>
                  <a:ext uri="{FF2B5EF4-FFF2-40B4-BE49-F238E27FC236}">
                    <a16:creationId xmlns:a16="http://schemas.microsoft.com/office/drawing/2014/main" id="{6CBFF565-EA89-4765-AFBD-7C835AD969BA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62" name="Hilfslinie">
              <a:extLst>
                <a:ext uri="{FF2B5EF4-FFF2-40B4-BE49-F238E27FC236}">
                  <a16:creationId xmlns:a16="http://schemas.microsoft.com/office/drawing/2014/main" id="{BE833AAF-B767-46FA-9606-9C7C1CBE2EAB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72" name="Line">
                <a:extLst>
                  <a:ext uri="{FF2B5EF4-FFF2-40B4-BE49-F238E27FC236}">
                    <a16:creationId xmlns:a16="http://schemas.microsoft.com/office/drawing/2014/main" id="{5066E0BA-D246-43FD-BCEE-B4A757E117F0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Text">
                <a:extLst>
                  <a:ext uri="{FF2B5EF4-FFF2-40B4-BE49-F238E27FC236}">
                    <a16:creationId xmlns:a16="http://schemas.microsoft.com/office/drawing/2014/main" id="{D11D02FD-2E9A-4296-8ACE-F2B9E5E3F548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63" name="Hilfslinie">
              <a:extLst>
                <a:ext uri="{FF2B5EF4-FFF2-40B4-BE49-F238E27FC236}">
                  <a16:creationId xmlns:a16="http://schemas.microsoft.com/office/drawing/2014/main" id="{324A4F60-1D71-425E-B9DE-AA1B669DAD1C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70" name="Line">
                <a:extLst>
                  <a:ext uri="{FF2B5EF4-FFF2-40B4-BE49-F238E27FC236}">
                    <a16:creationId xmlns:a16="http://schemas.microsoft.com/office/drawing/2014/main" id="{F0F41A97-4A64-4D3C-9558-A05F11E98FA8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Text">
                <a:extLst>
                  <a:ext uri="{FF2B5EF4-FFF2-40B4-BE49-F238E27FC236}">
                    <a16:creationId xmlns:a16="http://schemas.microsoft.com/office/drawing/2014/main" id="{5BAF4A33-9DBA-4B77-B612-8C4D8ACF6BF3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64" name="Hilfslinie">
              <a:extLst>
                <a:ext uri="{FF2B5EF4-FFF2-40B4-BE49-F238E27FC236}">
                  <a16:creationId xmlns:a16="http://schemas.microsoft.com/office/drawing/2014/main" id="{765B68F8-D096-4FC6-AF5C-1DAE1D40ACF0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68" name="Line">
                <a:extLst>
                  <a:ext uri="{FF2B5EF4-FFF2-40B4-BE49-F238E27FC236}">
                    <a16:creationId xmlns:a16="http://schemas.microsoft.com/office/drawing/2014/main" id="{C7FAB22D-F15A-4513-AB76-47C7B0968157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Text">
                <a:extLst>
                  <a:ext uri="{FF2B5EF4-FFF2-40B4-BE49-F238E27FC236}">
                    <a16:creationId xmlns:a16="http://schemas.microsoft.com/office/drawing/2014/main" id="{8F459B7F-2044-4CC7-808A-19D9FFF95763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65" name="Hilfslinie">
              <a:extLst>
                <a:ext uri="{FF2B5EF4-FFF2-40B4-BE49-F238E27FC236}">
                  <a16:creationId xmlns:a16="http://schemas.microsoft.com/office/drawing/2014/main" id="{256A4821-66F2-47B4-9D32-592FE398749E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66" name="Line">
                <a:extLst>
                  <a:ext uri="{FF2B5EF4-FFF2-40B4-BE49-F238E27FC236}">
                    <a16:creationId xmlns:a16="http://schemas.microsoft.com/office/drawing/2014/main" id="{703B2B5A-4603-404E-8104-83F2D47A86AB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Text">
                <a:extLst>
                  <a:ext uri="{FF2B5EF4-FFF2-40B4-BE49-F238E27FC236}">
                    <a16:creationId xmlns:a16="http://schemas.microsoft.com/office/drawing/2014/main" id="{44D4AA3F-A6BD-44A0-B33E-44E4FCB7AB3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60EE8217-15D0-40AF-8774-A3BEA95D42C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171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itel 3">
            <a:extLst>
              <a:ext uri="{FF2B5EF4-FFF2-40B4-BE49-F238E27FC236}">
                <a16:creationId xmlns:a16="http://schemas.microsoft.com/office/drawing/2014/main" id="{9C068164-2950-40E7-A283-589A05F16B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>
          <a:xfrm>
            <a:off x="540883" y="441625"/>
            <a:ext cx="1111023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74" name="Textplatzhalter 4">
            <a:extLst>
              <a:ext uri="{FF2B5EF4-FFF2-40B4-BE49-F238E27FC236}">
                <a16:creationId xmlns:a16="http://schemas.microsoft.com/office/drawing/2014/main" id="{55E87FAD-3DA0-4F5A-B113-C86CE606FD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5" name="Grafik 4">
            <a:extLst>
              <a:ext uri="{FF2B5EF4-FFF2-40B4-BE49-F238E27FC236}">
                <a16:creationId xmlns:a16="http://schemas.microsoft.com/office/drawing/2014/main" id="{4DE42AF6-45F3-4C5E-9354-8068632D2A64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BA936E-8345-48F3-99EB-064137EEC3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694E78E-9313-46DE-A6BA-4607137D93C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F025757-EB0B-4C89-833A-20F64E095FDA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4D54EE5D-14A0-4300-A156-8E0E288D7E8E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F07880AF-E9A6-47D0-A8C7-986D544CEB1C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41" name="Line">
                <a:extLst>
                  <a:ext uri="{FF2B5EF4-FFF2-40B4-BE49-F238E27FC236}">
                    <a16:creationId xmlns:a16="http://schemas.microsoft.com/office/drawing/2014/main" id="{3FE959B0-8140-430E-9F80-B37A72B156E3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Text">
                <a:extLst>
                  <a:ext uri="{FF2B5EF4-FFF2-40B4-BE49-F238E27FC236}">
                    <a16:creationId xmlns:a16="http://schemas.microsoft.com/office/drawing/2014/main" id="{0AD8E39A-0977-4577-8F22-DB5D832D0124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29" name="Hilfslinie">
              <a:extLst>
                <a:ext uri="{FF2B5EF4-FFF2-40B4-BE49-F238E27FC236}">
                  <a16:creationId xmlns:a16="http://schemas.microsoft.com/office/drawing/2014/main" id="{3E1D78B4-5965-483B-9FC4-CF36BE14FEFA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39" name="Line">
                <a:extLst>
                  <a:ext uri="{FF2B5EF4-FFF2-40B4-BE49-F238E27FC236}">
                    <a16:creationId xmlns:a16="http://schemas.microsoft.com/office/drawing/2014/main" id="{647E22E8-E963-492C-AF5C-DB0C8276152B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">
                <a:extLst>
                  <a:ext uri="{FF2B5EF4-FFF2-40B4-BE49-F238E27FC236}">
                    <a16:creationId xmlns:a16="http://schemas.microsoft.com/office/drawing/2014/main" id="{DDF48DF5-1DFE-41B1-AD98-75B5E8D92AFE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30" name="Hilfslinie">
              <a:extLst>
                <a:ext uri="{FF2B5EF4-FFF2-40B4-BE49-F238E27FC236}">
                  <a16:creationId xmlns:a16="http://schemas.microsoft.com/office/drawing/2014/main" id="{25BD5AD4-076E-46A9-88B6-8D1F6C5015EB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37" name="Line">
                <a:extLst>
                  <a:ext uri="{FF2B5EF4-FFF2-40B4-BE49-F238E27FC236}">
                    <a16:creationId xmlns:a16="http://schemas.microsoft.com/office/drawing/2014/main" id="{CCD84F51-ECC4-4E62-A647-07DE027A52EA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Text">
                <a:extLst>
                  <a:ext uri="{FF2B5EF4-FFF2-40B4-BE49-F238E27FC236}">
                    <a16:creationId xmlns:a16="http://schemas.microsoft.com/office/drawing/2014/main" id="{BC3EBEDA-1E6D-4800-80C3-5F46D00EB69A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 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8,32</a:t>
                </a:r>
              </a:p>
            </p:txBody>
          </p:sp>
        </p:grpSp>
        <p:grpSp>
          <p:nvGrpSpPr>
            <p:cNvPr id="31" name="Hilfslinie">
              <a:extLst>
                <a:ext uri="{FF2B5EF4-FFF2-40B4-BE49-F238E27FC236}">
                  <a16:creationId xmlns:a16="http://schemas.microsoft.com/office/drawing/2014/main" id="{57B884C9-3A82-41CF-AE32-79786B63744D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35" name="Line">
                <a:extLst>
                  <a:ext uri="{FF2B5EF4-FFF2-40B4-BE49-F238E27FC236}">
                    <a16:creationId xmlns:a16="http://schemas.microsoft.com/office/drawing/2014/main" id="{85081A1C-C5EE-49E1-8CF5-0CA314F780AA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">
                <a:extLst>
                  <a:ext uri="{FF2B5EF4-FFF2-40B4-BE49-F238E27FC236}">
                    <a16:creationId xmlns:a16="http://schemas.microsoft.com/office/drawing/2014/main" id="{A49E2E26-EB2F-4713-B791-4C487F57DCF3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3,74</a:t>
                </a:r>
              </a:p>
            </p:txBody>
          </p:sp>
        </p:grpSp>
        <p:grpSp>
          <p:nvGrpSpPr>
            <p:cNvPr id="32" name="Hilfslinie">
              <a:extLst>
                <a:ext uri="{FF2B5EF4-FFF2-40B4-BE49-F238E27FC236}">
                  <a16:creationId xmlns:a16="http://schemas.microsoft.com/office/drawing/2014/main" id="{BA99E699-1801-4CB2-92DC-F53C5E2BF7E0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33" name="Line">
                <a:extLst>
                  <a:ext uri="{FF2B5EF4-FFF2-40B4-BE49-F238E27FC236}">
                    <a16:creationId xmlns:a16="http://schemas.microsoft.com/office/drawing/2014/main" id="{4AEC5F31-9F69-4ECA-B37F-6C1308A6878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">
                <a:extLst>
                  <a:ext uri="{FF2B5EF4-FFF2-40B4-BE49-F238E27FC236}">
                    <a16:creationId xmlns:a16="http://schemas.microsoft.com/office/drawing/2014/main" id="{5E31930B-5E3B-4797-867F-021E11C9AC25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7,76</a:t>
                </a:r>
              </a:p>
            </p:txBody>
          </p:sp>
        </p:grpSp>
      </p:grp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6C2AE5D1-AA43-4F2D-BE89-4F84E200D2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4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Column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ltGray">
          <a:xfrm>
            <a:off x="540881" y="2078917"/>
            <a:ext cx="11109710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F75B691-7AA0-4E2A-80AD-247B16F6D022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fik 4">
            <a:extLst>
              <a:ext uri="{FF2B5EF4-FFF2-40B4-BE49-F238E27FC236}">
                <a16:creationId xmlns:a16="http://schemas.microsoft.com/office/drawing/2014/main" id="{AED6C0B9-4D26-4F15-9803-4432E0494D3C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55F48F1-7876-453E-8A50-3740BC4B0AAF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BC87C4EA-ABF3-448C-AC23-6352C6A37DF2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7" name="Hilfslinie">
              <a:extLst>
                <a:ext uri="{FF2B5EF4-FFF2-40B4-BE49-F238E27FC236}">
                  <a16:creationId xmlns:a16="http://schemas.microsoft.com/office/drawing/2014/main" id="{5F112F2C-1CBD-4A32-B701-F3C4553EF9B8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6" name="Line">
                <a:extLst>
                  <a:ext uri="{FF2B5EF4-FFF2-40B4-BE49-F238E27FC236}">
                    <a16:creationId xmlns:a16="http://schemas.microsoft.com/office/drawing/2014/main" id="{F96D7B1E-8499-4DC4-B167-C0CB46779EC6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">
                <a:extLst>
                  <a:ext uri="{FF2B5EF4-FFF2-40B4-BE49-F238E27FC236}">
                    <a16:creationId xmlns:a16="http://schemas.microsoft.com/office/drawing/2014/main" id="{3528EA51-7792-4DA9-81F9-2CBB0BFB1DB6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64B0612B-2A0D-40B2-B80F-74F85A060A06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0B279B65-79D6-41E2-B0AE-C57198935331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A77DAD84-A941-4D4F-86D1-7721B1721F10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5DA544A4-87EC-4391-B053-CE7CBDDEA8F9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9A1FF965-A283-4150-8DA1-69BDD44E298C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68C50DBE-213A-4028-9C71-09FCFF77A42E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6" name="Hilfslinie">
              <a:extLst>
                <a:ext uri="{FF2B5EF4-FFF2-40B4-BE49-F238E27FC236}">
                  <a16:creationId xmlns:a16="http://schemas.microsoft.com/office/drawing/2014/main" id="{F32C801A-FD3F-46A2-B90B-1D6641294B8A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4A047328-1452-45FB-AB2A-E3B5A54B0E38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CDDCC8BB-874C-4624-B7A8-1618A3686769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7" name="Hilfslinie">
              <a:extLst>
                <a:ext uri="{FF2B5EF4-FFF2-40B4-BE49-F238E27FC236}">
                  <a16:creationId xmlns:a16="http://schemas.microsoft.com/office/drawing/2014/main" id="{C026467A-3927-456A-80BD-4EA39B2EAA9C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CC5FAC50-9EA5-4F6A-B378-A6C11F30B42D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96E8ECDC-0F27-4428-B7AC-DABE8DBC666D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1AD21386-3209-4FE4-B632-14EC7A04179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85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F75B691-7AA0-4E2A-80AD-247B16F6D022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fik 4">
            <a:extLst>
              <a:ext uri="{FF2B5EF4-FFF2-40B4-BE49-F238E27FC236}">
                <a16:creationId xmlns:a16="http://schemas.microsoft.com/office/drawing/2014/main" id="{AED6C0B9-4D26-4F15-9803-4432E0494D3C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55F48F1-7876-453E-8A50-3740BC4B0AAF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">
            <a:extLst>
              <a:ext uri="{FF2B5EF4-FFF2-40B4-BE49-F238E27FC236}">
                <a16:creationId xmlns:a16="http://schemas.microsoft.com/office/drawing/2014/main" id="{2B394FDB-6931-4401-A336-A96D4E801E55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540882" y="2078917"/>
            <a:ext cx="5285082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2" name="Inhalt">
            <a:extLst>
              <a:ext uri="{FF2B5EF4-FFF2-40B4-BE49-F238E27FC236}">
                <a16:creationId xmlns:a16="http://schemas.microsoft.com/office/drawing/2014/main" id="{2E22F10A-118F-4477-9AE5-7E1EAA50FE2E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ltGray">
          <a:xfrm>
            <a:off x="6365509" y="2078917"/>
            <a:ext cx="5285082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861A4D-9767-4318-9423-3B9A979588B5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B56C566B-D272-4DCC-8DDC-82D6EB6FCB6C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9" name="Line">
                <a:extLst>
                  <a:ext uri="{FF2B5EF4-FFF2-40B4-BE49-F238E27FC236}">
                    <a16:creationId xmlns:a16="http://schemas.microsoft.com/office/drawing/2014/main" id="{D1B3BDF5-EFAE-4C01-8187-D04B11F0F734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">
                <a:extLst>
                  <a:ext uri="{FF2B5EF4-FFF2-40B4-BE49-F238E27FC236}">
                    <a16:creationId xmlns:a16="http://schemas.microsoft.com/office/drawing/2014/main" id="{2D8F2B9D-B9EA-4BA7-840A-2E79F12F79AE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29" name="Hilfslinie">
              <a:extLst>
                <a:ext uri="{FF2B5EF4-FFF2-40B4-BE49-F238E27FC236}">
                  <a16:creationId xmlns:a16="http://schemas.microsoft.com/office/drawing/2014/main" id="{44F9E306-2BBF-4A6D-A51B-A9F3C49A1EBE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7" name="Line">
                <a:extLst>
                  <a:ext uri="{FF2B5EF4-FFF2-40B4-BE49-F238E27FC236}">
                    <a16:creationId xmlns:a16="http://schemas.microsoft.com/office/drawing/2014/main" id="{255DAC2D-B5ED-4E40-9BF2-4DB4A2D7A32E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">
                <a:extLst>
                  <a:ext uri="{FF2B5EF4-FFF2-40B4-BE49-F238E27FC236}">
                    <a16:creationId xmlns:a16="http://schemas.microsoft.com/office/drawing/2014/main" id="{CE5393D1-9188-429D-BF45-0496984E0E8F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30" name="Hilfslinie">
              <a:extLst>
                <a:ext uri="{FF2B5EF4-FFF2-40B4-BE49-F238E27FC236}">
                  <a16:creationId xmlns:a16="http://schemas.microsoft.com/office/drawing/2014/main" id="{4A984949-B093-4C5C-AA97-ED5F9F0FC5EA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F2E06375-2AAC-46AB-8359-1891F480E983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D7A44CDE-D44F-48F4-B555-B79D6D74BC74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9" name="Hilfslinie">
              <a:extLst>
                <a:ext uri="{FF2B5EF4-FFF2-40B4-BE49-F238E27FC236}">
                  <a16:creationId xmlns:a16="http://schemas.microsoft.com/office/drawing/2014/main" id="{4C66226A-F72C-43FA-A4C7-BC21919EABE6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993446FE-50AB-4515-9654-46BAA32292CF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6A9B13BA-AEEB-4E9E-8B23-444A45256BF1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36488184-6143-4B75-AD59-1F47D9867CD0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1" name="Line">
                <a:extLst>
                  <a:ext uri="{FF2B5EF4-FFF2-40B4-BE49-F238E27FC236}">
                    <a16:creationId xmlns:a16="http://schemas.microsoft.com/office/drawing/2014/main" id="{15672DE0-2EFC-4BDD-9725-28EC5BA0227C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">
                <a:extLst>
                  <a:ext uri="{FF2B5EF4-FFF2-40B4-BE49-F238E27FC236}">
                    <a16:creationId xmlns:a16="http://schemas.microsoft.com/office/drawing/2014/main" id="{9171452D-0527-4F28-B691-686034D76062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170E3023-0B23-4CC0-94CC-890D102975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43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Dark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9BA8932B-1B12-4BAD-9A9C-EAEC02EB6B7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0177C72-CBCA-45C4-B9F8-2EE6C65315C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86D0BB2-4F79-4DA9-9FD9-DF99C4E9C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8BAD455-135A-4A49-9C4F-BA4DD20336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F75B691-7AA0-4E2A-80AD-247B16F6D022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rafik 4">
            <a:extLst>
              <a:ext uri="{FF2B5EF4-FFF2-40B4-BE49-F238E27FC236}">
                <a16:creationId xmlns:a16="http://schemas.microsoft.com/office/drawing/2014/main" id="{AED6C0B9-4D26-4F15-9803-4432E0494D3C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55F48F1-7876-453E-8A50-3740BC4B0AAF}"/>
              </a:ext>
            </a:extLst>
          </p:cNvPr>
          <p:cNvCxnSpPr>
            <a:cxnSpLocks/>
          </p:cNvCxnSpPr>
          <p:nvPr userDrawn="1"/>
        </p:nvCxnSpPr>
        <p:spPr bwMode="lt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nhalt">
            <a:extLst>
              <a:ext uri="{FF2B5EF4-FFF2-40B4-BE49-F238E27FC236}">
                <a16:creationId xmlns:a16="http://schemas.microsoft.com/office/drawing/2014/main" id="{5222CE5E-6060-493D-A6C2-83B5E27BC27A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ltGray">
          <a:xfrm>
            <a:off x="540882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29" name="Inhalt">
            <a:extLst>
              <a:ext uri="{FF2B5EF4-FFF2-40B4-BE49-F238E27FC236}">
                <a16:creationId xmlns:a16="http://schemas.microsoft.com/office/drawing/2014/main" id="{CCD860CB-0D16-4077-81B1-190B97695620}"/>
              </a:ext>
            </a:extLst>
          </p:cNvPr>
          <p:cNvSpPr>
            <a:spLocks noGrp="1"/>
          </p:cNvSpPr>
          <p:nvPr>
            <p:ph idx="19" hasCustomPrompt="1"/>
          </p:nvPr>
        </p:nvSpPr>
        <p:spPr bwMode="ltGray">
          <a:xfrm>
            <a:off x="4424189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30" name="Inhalt">
            <a:extLst>
              <a:ext uri="{FF2B5EF4-FFF2-40B4-BE49-F238E27FC236}">
                <a16:creationId xmlns:a16="http://schemas.microsoft.com/office/drawing/2014/main" id="{9F394F4F-BE2C-43DE-97AD-462B59D8EC71}"/>
              </a:ext>
            </a:extLst>
          </p:cNvPr>
          <p:cNvSpPr>
            <a:spLocks noGrp="1"/>
          </p:cNvSpPr>
          <p:nvPr>
            <p:ph idx="20" hasCustomPrompt="1"/>
          </p:nvPr>
        </p:nvSpPr>
        <p:spPr bwMode="ltGray">
          <a:xfrm>
            <a:off x="8307495" y="2078917"/>
            <a:ext cx="3343095" cy="4140000"/>
          </a:xfrm>
        </p:spPr>
        <p:txBody>
          <a:bodyPr t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7FC9C08D-D5BC-4C2F-A3FB-10825197F5F1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8" name="Hilfslinie">
              <a:extLst>
                <a:ext uri="{FF2B5EF4-FFF2-40B4-BE49-F238E27FC236}">
                  <a16:creationId xmlns:a16="http://schemas.microsoft.com/office/drawing/2014/main" id="{E11D268B-5E54-423C-A1B5-75600C1D8F72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61" name="Line">
                <a:extLst>
                  <a:ext uri="{FF2B5EF4-FFF2-40B4-BE49-F238E27FC236}">
                    <a16:creationId xmlns:a16="http://schemas.microsoft.com/office/drawing/2014/main" id="{C53C93AC-09E6-45FE-9950-ABDBEBBB186B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Text">
                <a:extLst>
                  <a:ext uri="{FF2B5EF4-FFF2-40B4-BE49-F238E27FC236}">
                    <a16:creationId xmlns:a16="http://schemas.microsoft.com/office/drawing/2014/main" id="{10D3DC5C-A0D7-408B-81F4-0BFCD68B0531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9" name="Hilfslinie">
              <a:extLst>
                <a:ext uri="{FF2B5EF4-FFF2-40B4-BE49-F238E27FC236}">
                  <a16:creationId xmlns:a16="http://schemas.microsoft.com/office/drawing/2014/main" id="{D70E1F88-71D2-4056-B480-B7ABB614D933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9" name="Line">
                <a:extLst>
                  <a:ext uri="{FF2B5EF4-FFF2-40B4-BE49-F238E27FC236}">
                    <a16:creationId xmlns:a16="http://schemas.microsoft.com/office/drawing/2014/main" id="{73873AD0-32F9-4C7F-81F9-61CB295B087E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Text">
                <a:extLst>
                  <a:ext uri="{FF2B5EF4-FFF2-40B4-BE49-F238E27FC236}">
                    <a16:creationId xmlns:a16="http://schemas.microsoft.com/office/drawing/2014/main" id="{544BF65E-D7B9-43F6-BEA8-6AEF24C6454F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5BE257D5-B5D1-4CB4-B330-072B1F93E763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7" name="Line">
                <a:extLst>
                  <a:ext uri="{FF2B5EF4-FFF2-40B4-BE49-F238E27FC236}">
                    <a16:creationId xmlns:a16="http://schemas.microsoft.com/office/drawing/2014/main" id="{463C2D75-C249-4CBD-A817-2550D1E71CF1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Text">
                <a:extLst>
                  <a:ext uri="{FF2B5EF4-FFF2-40B4-BE49-F238E27FC236}">
                    <a16:creationId xmlns:a16="http://schemas.microsoft.com/office/drawing/2014/main" id="{FB2921C3-DAB6-4BD0-BBE0-24E00558D98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51" name="Hilfslinie">
              <a:extLst>
                <a:ext uri="{FF2B5EF4-FFF2-40B4-BE49-F238E27FC236}">
                  <a16:creationId xmlns:a16="http://schemas.microsoft.com/office/drawing/2014/main" id="{85F41E88-BC13-4379-B45A-596F97668B61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7EF225FF-6ED1-4615-9833-217F7D7E07AF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7B12CC60-527C-43E4-8986-F20BA9F31CBC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2" name="Hilfslinie">
              <a:extLst>
                <a:ext uri="{FF2B5EF4-FFF2-40B4-BE49-F238E27FC236}">
                  <a16:creationId xmlns:a16="http://schemas.microsoft.com/office/drawing/2014/main" id="{842BC8A5-7012-415E-AA69-43C2339EDF3B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2B73B5C7-E56A-4393-9B59-17622A8F3D09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BC340747-BF23-47CD-8464-87AC9D118BE4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BAA1521A-67CE-409D-9099-FB73D4018B5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46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Full Size Picture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ildplatzhalter 5">
            <a:extLst>
              <a:ext uri="{FF2B5EF4-FFF2-40B4-BE49-F238E27FC236}">
                <a16:creationId xmlns:a16="http://schemas.microsoft.com/office/drawing/2014/main" id="{2C931CC9-B0B5-44C4-AF7C-D05FD5A3F675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1" y="0"/>
            <a:ext cx="12192000" cy="6858000"/>
          </a:xfrm>
          <a:pattFill prst="dkUpDiag">
            <a:fgClr>
              <a:schemeClr val="bg2">
                <a:lumMod val="85000"/>
              </a:schemeClr>
            </a:fgClr>
            <a:bgClr>
              <a:schemeClr val="bg1"/>
            </a:bgClr>
          </a:patt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FCFEC8A-B75E-413E-87D4-D2B5AF580A9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 bwMode="ltGray">
          <a:xfrm>
            <a:off x="1" y="0"/>
            <a:ext cx="12191994" cy="6858000"/>
          </a:xfrm>
          <a:gradFill>
            <a:gsLst>
              <a:gs pos="0">
                <a:schemeClr val="accent6">
                  <a:alpha val="50000"/>
                </a:schemeClr>
              </a:gs>
              <a:gs pos="100000">
                <a:schemeClr val="tx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C934D22-741B-4911-A410-6355E75F92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2C721A6-B892-4709-A972-D37D7F5E183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32B62582-732E-46F7-BE48-25623807BC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ltGray">
          <a:xfrm>
            <a:off x="540882" y="942975"/>
            <a:ext cx="11109709" cy="466725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600" b="1" spc="150" baseline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262D2DB-5BCF-48C0-B16C-0CF27373F0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lt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9" name="Textplatzhalter 10">
            <a:extLst>
              <a:ext uri="{FF2B5EF4-FFF2-40B4-BE49-F238E27FC236}">
                <a16:creationId xmlns:a16="http://schemas.microsoft.com/office/drawing/2014/main" id="{BEB12A67-DB13-4685-8280-8810E5737AA2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ltGray">
          <a:xfrm>
            <a:off x="10751002" y="6450741"/>
            <a:ext cx="900117" cy="187875"/>
          </a:xfrm>
          <a:blipFill>
            <a:blip r:embed="rId2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7F060350-D0B7-4503-AE56-CF2914880D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ltGray">
          <a:xfrm>
            <a:off x="865374" y="6472457"/>
            <a:ext cx="0" cy="144000"/>
          </a:xfr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C203FEE-57FD-49A5-8B91-0DD9746BE9D9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7" name="Hilfslinie">
              <a:extLst>
                <a:ext uri="{FF2B5EF4-FFF2-40B4-BE49-F238E27FC236}">
                  <a16:creationId xmlns:a16="http://schemas.microsoft.com/office/drawing/2014/main" id="{616C6312-6250-417C-825B-D313A0443BC3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60" name="Line">
                <a:extLst>
                  <a:ext uri="{FF2B5EF4-FFF2-40B4-BE49-F238E27FC236}">
                    <a16:creationId xmlns:a16="http://schemas.microsoft.com/office/drawing/2014/main" id="{49E786E7-0049-4BD9-B0FE-74518212E16C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Text">
                <a:extLst>
                  <a:ext uri="{FF2B5EF4-FFF2-40B4-BE49-F238E27FC236}">
                    <a16:creationId xmlns:a16="http://schemas.microsoft.com/office/drawing/2014/main" id="{2C8AC6BB-13F9-4FD1-8A74-72D75B37998D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8" name="Hilfslinie">
              <a:extLst>
                <a:ext uri="{FF2B5EF4-FFF2-40B4-BE49-F238E27FC236}">
                  <a16:creationId xmlns:a16="http://schemas.microsoft.com/office/drawing/2014/main" id="{D7561153-AC4B-4ECB-BA7E-96D81D6A5434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8" name="Line">
                <a:extLst>
                  <a:ext uri="{FF2B5EF4-FFF2-40B4-BE49-F238E27FC236}">
                    <a16:creationId xmlns:a16="http://schemas.microsoft.com/office/drawing/2014/main" id="{D1A4EF92-A7D5-4052-931B-CB5EA541AF31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Text">
                <a:extLst>
                  <a:ext uri="{FF2B5EF4-FFF2-40B4-BE49-F238E27FC236}">
                    <a16:creationId xmlns:a16="http://schemas.microsoft.com/office/drawing/2014/main" id="{15F449C1-B717-4774-B017-AF43C3B81B91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9" name="Hilfslinie">
              <a:extLst>
                <a:ext uri="{FF2B5EF4-FFF2-40B4-BE49-F238E27FC236}">
                  <a16:creationId xmlns:a16="http://schemas.microsoft.com/office/drawing/2014/main" id="{BE50776D-527B-431E-9BB5-4B2826A1D53D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6" name="Line">
                <a:extLst>
                  <a:ext uri="{FF2B5EF4-FFF2-40B4-BE49-F238E27FC236}">
                    <a16:creationId xmlns:a16="http://schemas.microsoft.com/office/drawing/2014/main" id="{E310781D-5DF0-4815-BA4B-4A60D91B8F1D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7" name="Text">
                <a:extLst>
                  <a:ext uri="{FF2B5EF4-FFF2-40B4-BE49-F238E27FC236}">
                    <a16:creationId xmlns:a16="http://schemas.microsoft.com/office/drawing/2014/main" id="{F9692113-E6A6-45C0-BA31-CBF5F9DAC3F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50" name="Hilfslinie">
              <a:extLst>
                <a:ext uri="{FF2B5EF4-FFF2-40B4-BE49-F238E27FC236}">
                  <a16:creationId xmlns:a16="http://schemas.microsoft.com/office/drawing/2014/main" id="{93961D97-93D5-47DA-9873-EBD882A7BAB9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864B329A-7E79-40F3-87E8-E66A8911C723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2EB70B81-9AEE-4818-9DD1-3C4B9F172CF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51" name="Hilfslinie">
              <a:extLst>
                <a:ext uri="{FF2B5EF4-FFF2-40B4-BE49-F238E27FC236}">
                  <a16:creationId xmlns:a16="http://schemas.microsoft.com/office/drawing/2014/main" id="{83AC7040-E48A-4414-A694-ABAD72786C1A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64E9B933-64CC-4F8C-9446-318C11B98182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7A382FD2-C566-4990-BFD8-78C9EE529A78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grpSp>
        <p:nvGrpSpPr>
          <p:cNvPr id="30" name="Gruppieren 1">
            <a:extLst>
              <a:ext uri="{FF2B5EF4-FFF2-40B4-BE49-F238E27FC236}">
                <a16:creationId xmlns:a16="http://schemas.microsoft.com/office/drawing/2014/main" id="{B5E979DF-4C8C-47BB-A931-8B43363CBC8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4207179"/>
            <a:chOff x="12427519" y="121759"/>
            <a:chExt cx="2016001" cy="4207179"/>
          </a:xfrm>
        </p:grpSpPr>
        <p:sp>
          <p:nvSpPr>
            <p:cNvPr id="31" name="Textfeld 22">
              <a:extLst>
                <a:ext uri="{FF2B5EF4-FFF2-40B4-BE49-F238E27FC236}">
                  <a16:creationId xmlns:a16="http://schemas.microsoft.com/office/drawing/2014/main" id="{A3A30982-BA49-446B-82A1-B2010F772CF8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3789105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Move the element above the picture placeholder a bit to the left or right (while holding down the SHIFT key) to get to the picture placeholder symbol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After you have inserted the picture, move the element back to the original position (Select both elements and use the "Align" tool)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32" name="Gruppieren 23">
              <a:extLst>
                <a:ext uri="{FF2B5EF4-FFF2-40B4-BE49-F238E27FC236}">
                  <a16:creationId xmlns:a16="http://schemas.microsoft.com/office/drawing/2014/main" id="{5E9C46BD-58BB-4868-8339-C8381C8CF6D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34" name="Freihandform: Form 24">
                <a:extLst>
                  <a:ext uri="{FF2B5EF4-FFF2-40B4-BE49-F238E27FC236}">
                    <a16:creationId xmlns:a16="http://schemas.microsoft.com/office/drawing/2014/main" id="{681C96EB-736D-4BF2-AFFA-A0E9B4B65B8E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35" name="Gruppieren 25">
                <a:extLst>
                  <a:ext uri="{FF2B5EF4-FFF2-40B4-BE49-F238E27FC236}">
                    <a16:creationId xmlns:a16="http://schemas.microsoft.com/office/drawing/2014/main" id="{46C7A680-739B-4BB8-81DB-2306A699684A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36" name="Gerader Verbinder 26">
                  <a:extLst>
                    <a:ext uri="{FF2B5EF4-FFF2-40B4-BE49-F238E27FC236}">
                      <a16:creationId xmlns:a16="http://schemas.microsoft.com/office/drawing/2014/main" id="{5294902D-FACC-47F4-910B-E3213D8A75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7" name="Gerader Verbinder 27">
                  <a:extLst>
                    <a:ext uri="{FF2B5EF4-FFF2-40B4-BE49-F238E27FC236}">
                      <a16:creationId xmlns:a16="http://schemas.microsoft.com/office/drawing/2014/main" id="{7630BE32-9FA7-4424-A7FA-309F23A30C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8" name="Gerader Verbinder 28">
                  <a:extLst>
                    <a:ext uri="{FF2B5EF4-FFF2-40B4-BE49-F238E27FC236}">
                      <a16:creationId xmlns:a16="http://schemas.microsoft.com/office/drawing/2014/main" id="{9FC6207E-1D66-4C9F-BB1E-0212B3D45AB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9" name="Gerader Verbinder 29">
                  <a:extLst>
                    <a:ext uri="{FF2B5EF4-FFF2-40B4-BE49-F238E27FC236}">
                      <a16:creationId xmlns:a16="http://schemas.microsoft.com/office/drawing/2014/main" id="{F8225EAA-F373-4A5C-A5CE-AF2BA78DB5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33" name="Gerader Verbinder 31">
              <a:extLst>
                <a:ext uri="{FF2B5EF4-FFF2-40B4-BE49-F238E27FC236}">
                  <a16:creationId xmlns:a16="http://schemas.microsoft.com/office/drawing/2014/main" id="{D3168832-A3DE-4C87-972B-E9B5D2675A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B56F20F1-1676-4A6B-8A5D-01DBB45A313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41338" y="6290963"/>
            <a:ext cx="5554662" cy="108000"/>
          </a:xfrm>
        </p:spPr>
        <p:txBody>
          <a:bodyPr anchor="b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800">
                <a:solidFill>
                  <a:schemeClr val="bg2">
                    <a:lumMod val="65000"/>
                  </a:schemeClr>
                </a:solidFill>
              </a:defRPr>
            </a:lvl1pPr>
            <a:lvl2pPr marL="306000" indent="0">
              <a:buNone/>
              <a:defRPr sz="1000"/>
            </a:lvl2pPr>
            <a:lvl3pPr marL="576000" indent="0">
              <a:buNone/>
              <a:defRPr sz="1000"/>
            </a:lvl3pPr>
            <a:lvl4pPr marL="846000" indent="0">
              <a:buNone/>
              <a:defRPr sz="1000"/>
            </a:lvl4pPr>
            <a:lvl5pPr marL="1116000" indent="0">
              <a:buNone/>
              <a:defRPr sz="1000"/>
            </a:lvl5pPr>
          </a:lstStyle>
          <a:p>
            <a:pPr lvl="0"/>
            <a:r>
              <a:rPr lang="de-DE"/>
              <a:t>Source: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68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With Pictur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5">
            <a:extLst>
              <a:ext uri="{FF2B5EF4-FFF2-40B4-BE49-F238E27FC236}">
                <a16:creationId xmlns:a16="http://schemas.microsoft.com/office/drawing/2014/main" id="{5E21A7C6-D00F-4A27-9CF4-6A55142CE076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1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1" name="Textplatzhalter 30">
            <a:extLst>
              <a:ext uri="{FF2B5EF4-FFF2-40B4-BE49-F238E27FC236}">
                <a16:creationId xmlns:a16="http://schemas.microsoft.com/office/drawing/2014/main" id="{8C1D59DE-BDEC-4B75-823A-50EA5CAA19BE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 bwMode="ltGray">
          <a:xfrm>
            <a:off x="-1" y="0"/>
            <a:ext cx="5811156" cy="6858000"/>
          </a:xfrm>
          <a:gradFill>
            <a:gsLst>
              <a:gs pos="0">
                <a:schemeClr val="accent6">
                  <a:alpha val="80000"/>
                </a:schemeClr>
              </a:gs>
              <a:gs pos="100000">
                <a:schemeClr val="tx2">
                  <a:alpha val="95000"/>
                </a:schemeClr>
              </a:gs>
            </a:gsLst>
            <a:path path="circle">
              <a:fillToRect l="50000" t="50000" r="50000" b="50000"/>
            </a:path>
          </a:gradFill>
        </p:spPr>
        <p:txBody>
          <a:bodyPr lIns="547200" tIns="288000" bIns="0" anchor="t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600" b="1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24" name="Textplatzhalter 37">
            <a:extLst>
              <a:ext uri="{FF2B5EF4-FFF2-40B4-BE49-F238E27FC236}">
                <a16:creationId xmlns:a16="http://schemas.microsoft.com/office/drawing/2014/main" id="{63E16186-5F07-40CC-91B4-66F3F3DAD6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50933" y="3911600"/>
            <a:ext cx="4747857" cy="2304000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593A42F3-A71B-486F-95B3-504EDAD9B835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 bwMode="ltGray">
          <a:xfrm>
            <a:off x="10751002" y="6450741"/>
            <a:ext cx="900117" cy="187875"/>
          </a:xfrm>
          <a:blipFill>
            <a:blip r:embed="rId3"/>
            <a:srcRect/>
            <a:stretch>
              <a:fillRect t="-103" b="-103"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 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CC9F6A6-5162-4AD1-AAEE-FC9AAD23BAD7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A47184E0-EDF9-44CA-BE65-B0EE4B34347F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5BFA9B12-D2B3-4E23-AC5F-AAF86C0778CE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8FF733B0-0C3B-41DD-A720-D57FFF724DD9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9C47BF28-D37C-47D4-AF5D-B35EB0F47842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A0250BBE-FF8A-4D66-9A9B-87DB77F39CB3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5669A827-BBC2-47FC-9614-A6E2B2BFBD69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847696DD-01B2-46A8-814D-E56AD5DA5B39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1" name="Line">
                <a:extLst>
                  <a:ext uri="{FF2B5EF4-FFF2-40B4-BE49-F238E27FC236}">
                    <a16:creationId xmlns:a16="http://schemas.microsoft.com/office/drawing/2014/main" id="{0642279E-A8DE-42D5-8F8C-AFD057B9A77F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">
                <a:extLst>
                  <a:ext uri="{FF2B5EF4-FFF2-40B4-BE49-F238E27FC236}">
                    <a16:creationId xmlns:a16="http://schemas.microsoft.com/office/drawing/2014/main" id="{55EC95DF-95B9-424C-9E44-879A7AF14E3F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F10E10F2-77AD-4E85-8A18-B13755033970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9" name="Line">
                <a:extLst>
                  <a:ext uri="{FF2B5EF4-FFF2-40B4-BE49-F238E27FC236}">
                    <a16:creationId xmlns:a16="http://schemas.microsoft.com/office/drawing/2014/main" id="{092C0DDD-D230-42A5-896A-8B4521214402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">
                <a:extLst>
                  <a:ext uri="{FF2B5EF4-FFF2-40B4-BE49-F238E27FC236}">
                    <a16:creationId xmlns:a16="http://schemas.microsoft.com/office/drawing/2014/main" id="{3C328BAF-2805-4DF8-99C1-AA97B804116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6" name="Hilfslinie">
              <a:extLst>
                <a:ext uri="{FF2B5EF4-FFF2-40B4-BE49-F238E27FC236}">
                  <a16:creationId xmlns:a16="http://schemas.microsoft.com/office/drawing/2014/main" id="{6D636F44-BCAD-429B-996C-4589092D29AB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7" name="Line">
                <a:extLst>
                  <a:ext uri="{FF2B5EF4-FFF2-40B4-BE49-F238E27FC236}">
                    <a16:creationId xmlns:a16="http://schemas.microsoft.com/office/drawing/2014/main" id="{08BF554F-CE72-46FA-99A7-02F843A6EB08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">
                <a:extLst>
                  <a:ext uri="{FF2B5EF4-FFF2-40B4-BE49-F238E27FC236}">
                    <a16:creationId xmlns:a16="http://schemas.microsoft.com/office/drawing/2014/main" id="{2E204674-329D-44AE-B35F-6AE09E4D039C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grpSp>
        <p:nvGrpSpPr>
          <p:cNvPr id="23" name="Gruppieren 1">
            <a:extLst>
              <a:ext uri="{FF2B5EF4-FFF2-40B4-BE49-F238E27FC236}">
                <a16:creationId xmlns:a16="http://schemas.microsoft.com/office/drawing/2014/main" id="{A95E53AB-63F0-468A-8148-6AB32E4BDF0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427519" y="121759"/>
            <a:ext cx="2016001" cy="2668296"/>
            <a:chOff x="12427519" y="121759"/>
            <a:chExt cx="2016001" cy="2668296"/>
          </a:xfrm>
        </p:grpSpPr>
        <p:sp>
          <p:nvSpPr>
            <p:cNvPr id="25" name="Textfeld 22">
              <a:extLst>
                <a:ext uri="{FF2B5EF4-FFF2-40B4-BE49-F238E27FC236}">
                  <a16:creationId xmlns:a16="http://schemas.microsoft.com/office/drawing/2014/main" id="{05D102E4-EB24-458E-8D01-287E4C977DCD}"/>
                </a:ext>
              </a:extLst>
            </p:cNvPr>
            <p:cNvSpPr txBox="1"/>
            <p:nvPr userDrawn="1"/>
          </p:nvSpPr>
          <p:spPr>
            <a:xfrm>
              <a:off x="12427520" y="539833"/>
              <a:ext cx="2016000" cy="2250222"/>
            </a:xfrm>
            <a:prstGeom prst="rect">
              <a:avLst/>
            </a:prstGeom>
            <a:noFill/>
          </p:spPr>
          <p:txBody>
            <a:bodyPr wrap="square" lIns="0" tIns="72000" rIns="0" b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b="1">
                  <a:solidFill>
                    <a:schemeClr val="accent2"/>
                  </a:solidFill>
                </a:rPr>
                <a:t>How to change the picture: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Remove the old picture from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1050" b="1">
                  <a:solidFill>
                    <a:schemeClr val="accent2"/>
                  </a:solidFill>
                </a:rPr>
                <a:t>OR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Insert new picture file by clicking “Click icon to add picture",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crop it if needed, and use it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The new picture is placed in</a:t>
              </a:r>
              <a:br>
                <a:rPr lang="en-US" sz="900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the picture placeholder.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 b="1">
                  <a:solidFill>
                    <a:schemeClr val="tx2"/>
                  </a:solidFill>
                </a:rPr>
                <a:t>Now send it to the background.</a:t>
              </a:r>
              <a:br>
                <a:rPr lang="en-US" sz="900" b="1">
                  <a:solidFill>
                    <a:schemeClr val="tx2"/>
                  </a:solidFill>
                </a:rPr>
              </a:br>
              <a:r>
                <a:rPr lang="en-US" sz="900">
                  <a:solidFill>
                    <a:schemeClr val="tx2"/>
                  </a:solidFill>
                </a:rPr>
                <a:t>(right-click on the picture placeholder – “Send to Back")</a:t>
              </a:r>
            </a:p>
            <a:p>
              <a:pPr marL="228600" indent="-228600">
                <a:spcAft>
                  <a:spcPts val="600"/>
                </a:spcAft>
                <a:buFont typeface="+mj-lt"/>
                <a:buAutoNum type="arabicPeriod"/>
              </a:pPr>
              <a:r>
                <a:rPr lang="en-US" sz="900">
                  <a:solidFill>
                    <a:schemeClr val="tx2"/>
                  </a:solidFill>
                </a:rPr>
                <a:t>Done!</a:t>
              </a:r>
            </a:p>
          </p:txBody>
        </p:sp>
        <p:grpSp>
          <p:nvGrpSpPr>
            <p:cNvPr id="26" name="Gruppieren 23">
              <a:extLst>
                <a:ext uri="{FF2B5EF4-FFF2-40B4-BE49-F238E27FC236}">
                  <a16:creationId xmlns:a16="http://schemas.microsoft.com/office/drawing/2014/main" id="{B4BBABEF-A6F4-4CC7-BA2B-B347C059219D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427520" y="121759"/>
              <a:ext cx="325739" cy="325739"/>
              <a:chOff x="3775393" y="6110602"/>
              <a:chExt cx="420227" cy="420227"/>
            </a:xfrm>
            <a:noFill/>
          </p:grpSpPr>
          <p:sp>
            <p:nvSpPr>
              <p:cNvPr id="28" name="Freihandform: Form 24">
                <a:extLst>
                  <a:ext uri="{FF2B5EF4-FFF2-40B4-BE49-F238E27FC236}">
                    <a16:creationId xmlns:a16="http://schemas.microsoft.com/office/drawing/2014/main" id="{8346C29F-67BE-4368-A05F-775AF494E4E1}"/>
                  </a:ext>
                </a:extLst>
              </p:cNvPr>
              <p:cNvSpPr/>
              <p:nvPr/>
            </p:nvSpPr>
            <p:spPr>
              <a:xfrm>
                <a:off x="3775393" y="6110602"/>
                <a:ext cx="420227" cy="420227"/>
              </a:xfrm>
              <a:custGeom>
                <a:avLst/>
                <a:gdLst>
                  <a:gd name="connsiteX0" fmla="*/ 375072 w 390954"/>
                  <a:gd name="connsiteY0" fmla="*/ 196699 h 390954"/>
                  <a:gd name="connsiteX1" fmla="*/ 196699 w 390954"/>
                  <a:gd name="connsiteY1" fmla="*/ 375072 h 390954"/>
                  <a:gd name="connsiteX2" fmla="*/ 18326 w 390954"/>
                  <a:gd name="connsiteY2" fmla="*/ 196699 h 390954"/>
                  <a:gd name="connsiteX3" fmla="*/ 196699 w 390954"/>
                  <a:gd name="connsiteY3" fmla="*/ 18326 h 390954"/>
                  <a:gd name="connsiteX4" fmla="*/ 375072 w 390954"/>
                  <a:gd name="connsiteY4" fmla="*/ 196699 h 3909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954" h="390954">
                    <a:moveTo>
                      <a:pt x="375072" y="196699"/>
                    </a:moveTo>
                    <a:cubicBezTo>
                      <a:pt x="375072" y="295212"/>
                      <a:pt x="295212" y="375072"/>
                      <a:pt x="196699" y="375072"/>
                    </a:cubicBezTo>
                    <a:cubicBezTo>
                      <a:pt x="98186" y="375072"/>
                      <a:pt x="18326" y="295212"/>
                      <a:pt x="18326" y="196699"/>
                    </a:cubicBezTo>
                    <a:cubicBezTo>
                      <a:pt x="18326" y="98187"/>
                      <a:pt x="98186" y="18326"/>
                      <a:pt x="196699" y="18326"/>
                    </a:cubicBezTo>
                    <a:cubicBezTo>
                      <a:pt x="295212" y="18326"/>
                      <a:pt x="375072" y="98187"/>
                      <a:pt x="375072" y="196699"/>
                    </a:cubicBezTo>
                    <a:close/>
                  </a:path>
                </a:pathLst>
              </a:custGeom>
              <a:grpFill/>
              <a:ln w="12700" cap="rnd">
                <a:solidFill>
                  <a:schemeClr val="tx2"/>
                </a:solidFill>
                <a:prstDash val="solid"/>
                <a:miter lim="800000"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grpSp>
            <p:nvGrpSpPr>
              <p:cNvPr id="29" name="Gruppieren 25">
                <a:extLst>
                  <a:ext uri="{FF2B5EF4-FFF2-40B4-BE49-F238E27FC236}">
                    <a16:creationId xmlns:a16="http://schemas.microsoft.com/office/drawing/2014/main" id="{F38A6104-F1E0-4A5D-8B41-79E10D7D45D4}"/>
                  </a:ext>
                </a:extLst>
              </p:cNvPr>
              <p:cNvGrpSpPr/>
              <p:nvPr/>
            </p:nvGrpSpPr>
            <p:grpSpPr>
              <a:xfrm>
                <a:off x="3967646" y="6187367"/>
                <a:ext cx="36000" cy="266697"/>
                <a:chOff x="4542233" y="6191253"/>
                <a:chExt cx="36000" cy="266697"/>
              </a:xfrm>
              <a:grpFill/>
            </p:grpSpPr>
            <p:cxnSp>
              <p:nvCxnSpPr>
                <p:cNvPr id="31" name="Gerader Verbinder 26">
                  <a:extLst>
                    <a:ext uri="{FF2B5EF4-FFF2-40B4-BE49-F238E27FC236}">
                      <a16:creationId xmlns:a16="http://schemas.microsoft.com/office/drawing/2014/main" id="{7017F26D-5BBF-4478-BDE6-48954D776C4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263224"/>
                  <a:ext cx="0" cy="194726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2" name="Gerader Verbinder 27">
                  <a:extLst>
                    <a:ext uri="{FF2B5EF4-FFF2-40B4-BE49-F238E27FC236}">
                      <a16:creationId xmlns:a16="http://schemas.microsoft.com/office/drawing/2014/main" id="{F880CAC8-BA4C-4694-BBCC-6DF7D304E5C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457950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3" name="Gerader Verbinder 28">
                  <a:extLst>
                    <a:ext uri="{FF2B5EF4-FFF2-40B4-BE49-F238E27FC236}">
                      <a16:creationId xmlns:a16="http://schemas.microsoft.com/office/drawing/2014/main" id="{A2B94A67-046A-4E79-BC06-B760A413647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42233" y="6263224"/>
                  <a:ext cx="36000" cy="0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  <p:cxnSp>
              <p:nvCxnSpPr>
                <p:cNvPr id="34" name="Gerader Verbinder 29">
                  <a:extLst>
                    <a:ext uri="{FF2B5EF4-FFF2-40B4-BE49-F238E27FC236}">
                      <a16:creationId xmlns:a16="http://schemas.microsoft.com/office/drawing/2014/main" id="{D40C9A34-5EEF-416D-BF41-87851FEB56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60093" y="6191253"/>
                  <a:ext cx="0" cy="21431"/>
                </a:xfrm>
                <a:prstGeom prst="line">
                  <a:avLst/>
                </a:prstGeom>
                <a:grpFill/>
                <a:ln w="12700" cap="rnd">
                  <a:solidFill>
                    <a:schemeClr val="tx2"/>
                  </a:solidFill>
                  <a:prstDash val="solid"/>
                  <a:miter lim="800000"/>
                </a:ln>
              </p:spPr>
            </p:cxnSp>
          </p:grpSp>
        </p:grpSp>
        <p:cxnSp>
          <p:nvCxnSpPr>
            <p:cNvPr id="27" name="Gerader Verbinder 31">
              <a:extLst>
                <a:ext uri="{FF2B5EF4-FFF2-40B4-BE49-F238E27FC236}">
                  <a16:creationId xmlns:a16="http://schemas.microsoft.com/office/drawing/2014/main" id="{F0C45DEE-EF09-4B2B-B76F-2D3D44FEFC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427519" y="539833"/>
              <a:ext cx="2016000" cy="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30806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98372E-6 -0.03773 L -4.98372E-6 -4.44444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1">
        <p:tmplLst>
          <p:tmpl>
            <p:tnLst>
              <p:par>
                <p:cTn presetID="42" presetClass="path" presetSubtype="0" decel="100000" fill="hold" nodeType="withEffect">
                  <p:stCondLst>
                    <p:cond delay="0"/>
                  </p:stCondLst>
                  <p:childTnLst>
                    <p:animMotion origin="layout" path="M -4.98372E-6 -0.03773 L -4.98372E-6 -4.44444E-6 " pathEditMode="relative" rAng="0" ptsTypes="AA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1875"/>
                    </p:animMotion>
                  </p:childTnLst>
                </p:cTn>
              </p:par>
            </p:tnLst>
          </p:tmpl>
        </p:tmplLst>
      </p:bldP>
    </p:bldLst>
  </p:timing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7" name="Rectangle 6"/>
          <p:cNvSpPr/>
          <p:nvPr userDrawn="1"/>
        </p:nvSpPr>
        <p:spPr>
          <a:xfrm>
            <a:off x="6177280" y="0"/>
            <a:ext cx="601472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235713" y="2832326"/>
            <a:ext cx="5700719" cy="119335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898628" y="569977"/>
            <a:ext cx="8679259" cy="1613607"/>
          </a:xfrm>
        </p:spPr>
        <p:txBody>
          <a:bodyPr anchor="t">
            <a:normAutofit/>
          </a:bodyPr>
          <a:lstStyle>
            <a:lvl1pPr algn="l"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98628" y="2326255"/>
            <a:ext cx="8679259" cy="131873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133">
                <a:solidFill>
                  <a:schemeClr val="bg1"/>
                </a:solidFill>
              </a:defRPr>
            </a:lvl1pPr>
            <a:lvl2pPr marL="812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0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1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Subtitle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98628" y="5194907"/>
            <a:ext cx="1115437" cy="1084453"/>
            <a:chOff x="4153711" y="2181228"/>
            <a:chExt cx="836578" cy="813340"/>
          </a:xfrm>
          <a:effectLst/>
        </p:grpSpPr>
        <p:sp>
          <p:nvSpPr>
            <p:cNvPr id="16" name="Rectangle 15"/>
            <p:cNvSpPr/>
            <p:nvPr userDrawn="1"/>
          </p:nvSpPr>
          <p:spPr>
            <a:xfrm>
              <a:off x="4153711" y="2181228"/>
              <a:ext cx="836578" cy="78104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3711" y="2181228"/>
              <a:ext cx="836578" cy="8133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5138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01386" y="724746"/>
            <a:ext cx="11389236" cy="4515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30432"/>
            <a:ext cx="10363200" cy="1470025"/>
          </a:xfrm>
        </p:spPr>
        <p:txBody>
          <a:bodyPr>
            <a:normAutofit/>
          </a:bodyPr>
          <a:lstStyle>
            <a:lvl1pPr algn="ctr">
              <a:defRPr sz="568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977">
                <a:solidFill>
                  <a:schemeClr val="tx1">
                    <a:tint val="75000"/>
                  </a:schemeClr>
                </a:solidFill>
              </a:defRPr>
            </a:lvl1pPr>
            <a:lvl2pPr marL="812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25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50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63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76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6891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01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66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237"/>
            <a:ext cx="8534400" cy="474780"/>
          </a:xfrm>
        </p:spPr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71601"/>
            <a:ext cx="10972800" cy="4629151"/>
          </a:xfrm>
          <a:prstGeom prst="rect">
            <a:avLst/>
          </a:prstGeom>
        </p:spPr>
        <p:txBody>
          <a:bodyPr numCol="1" spcCol="457200">
            <a:normAutofit/>
          </a:bodyPr>
          <a:lstStyle>
            <a:lvl1pPr marL="609554" indent="-609554">
              <a:buClr>
                <a:schemeClr val="accent3"/>
              </a:buClr>
              <a:buFont typeface="Wingdings" charset="2"/>
              <a:buChar char="§"/>
              <a:defRPr sz="3200"/>
            </a:lvl1pPr>
            <a:lvl2pPr marL="1320702" indent="-507963">
              <a:buClr>
                <a:schemeClr val="accent3"/>
              </a:buClr>
              <a:buFont typeface="Wingdings" charset="2"/>
              <a:buChar char="§"/>
              <a:defRPr sz="2844"/>
            </a:lvl2pPr>
            <a:lvl3pPr marL="2031847" indent="-406369">
              <a:buClr>
                <a:schemeClr val="accent3"/>
              </a:buClr>
              <a:buFont typeface="Wingdings" charset="2"/>
              <a:buChar char="§"/>
              <a:defRPr sz="2489"/>
            </a:lvl3pPr>
            <a:lvl4pPr marL="2844586" indent="-406369">
              <a:buClr>
                <a:schemeClr val="accent3"/>
              </a:buClr>
              <a:buFont typeface="Wingdings" charset="2"/>
              <a:buChar char="§"/>
              <a:defRPr sz="2133"/>
            </a:lvl4pPr>
            <a:lvl5pPr marL="3657326" indent="-406369">
              <a:buClr>
                <a:schemeClr val="accent3"/>
              </a:buClr>
              <a:buFont typeface="Wingdings" charset="2"/>
              <a:buChar char="§"/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209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37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609600" y="1349349"/>
            <a:ext cx="5384800" cy="4765703"/>
          </a:xfrm>
          <a:prstGeom prst="rect">
            <a:avLst/>
          </a:prstGeom>
        </p:spPr>
        <p:txBody>
          <a:bodyPr>
            <a:normAutofit/>
          </a:bodyPr>
          <a:lstStyle>
            <a:lvl1pPr marL="609554" indent="-609554">
              <a:buClr>
                <a:schemeClr val="accent3"/>
              </a:buClr>
              <a:buFont typeface="Wingdings" charset="2"/>
              <a:buChar char="§"/>
              <a:defRPr sz="3200"/>
            </a:lvl1pPr>
            <a:lvl2pPr marL="1320702" indent="-507963">
              <a:buClr>
                <a:schemeClr val="accent3"/>
              </a:buClr>
              <a:buFont typeface="Wingdings" charset="2"/>
              <a:buChar char="§"/>
              <a:defRPr sz="2844"/>
            </a:lvl2pPr>
            <a:lvl3pPr marL="2031847" indent="-406369">
              <a:buClr>
                <a:schemeClr val="accent3"/>
              </a:buClr>
              <a:buFont typeface="Wingdings" charset="2"/>
              <a:buChar char="§"/>
              <a:defRPr sz="2489"/>
            </a:lvl3pPr>
            <a:lvl4pPr marL="2844586" indent="-406369">
              <a:buClr>
                <a:schemeClr val="accent3"/>
              </a:buClr>
              <a:buFont typeface="Wingdings" charset="2"/>
              <a:buChar char="§"/>
              <a:defRPr sz="2133"/>
            </a:lvl4pPr>
            <a:lvl5pPr marL="3657326" indent="-406369">
              <a:buClr>
                <a:schemeClr val="accent3"/>
              </a:buClr>
              <a:buFont typeface="Wingdings" charset="2"/>
              <a:buChar char="§"/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97600" y="1349349"/>
            <a:ext cx="5384800" cy="4765703"/>
          </a:xfrm>
          <a:prstGeom prst="rect">
            <a:avLst/>
          </a:prstGeom>
        </p:spPr>
        <p:txBody>
          <a:bodyPr>
            <a:normAutofit/>
          </a:bodyPr>
          <a:lstStyle>
            <a:lvl1pPr marL="609554" indent="-609554">
              <a:buClr>
                <a:schemeClr val="accent3"/>
              </a:buClr>
              <a:buFont typeface="Wingdings" charset="2"/>
              <a:buChar char="§"/>
              <a:defRPr sz="3200"/>
            </a:lvl1pPr>
            <a:lvl2pPr marL="1320702" indent="-507963">
              <a:buClr>
                <a:schemeClr val="accent3"/>
              </a:buClr>
              <a:buFont typeface="Wingdings" charset="2"/>
              <a:buChar char="§"/>
              <a:defRPr sz="2844"/>
            </a:lvl2pPr>
            <a:lvl3pPr marL="2031847" indent="-406369">
              <a:buClr>
                <a:schemeClr val="accent3"/>
              </a:buClr>
              <a:buFont typeface="Wingdings" charset="2"/>
              <a:buChar char="§"/>
              <a:defRPr sz="2489"/>
            </a:lvl3pPr>
            <a:lvl4pPr marL="2844586" indent="-406369">
              <a:buClr>
                <a:schemeClr val="accent3"/>
              </a:buClr>
              <a:buFont typeface="Wingdings" charset="2"/>
              <a:buChar char="§"/>
              <a:defRPr sz="2133"/>
            </a:lvl4pPr>
            <a:lvl5pPr marL="3657326" indent="-406369">
              <a:buClr>
                <a:schemeClr val="accent3"/>
              </a:buClr>
              <a:buFont typeface="Wingdings" charset="2"/>
              <a:buChar char="§"/>
              <a:defRPr sz="2133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16994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237"/>
            <a:ext cx="8534400" cy="474780"/>
          </a:xfrm>
        </p:spPr>
        <p:txBody>
          <a:bodyPr l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5527917" y="6063231"/>
            <a:ext cx="1256345" cy="710108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6" name="Rectangle 5"/>
          <p:cNvSpPr/>
          <p:nvPr userDrawn="1"/>
        </p:nvSpPr>
        <p:spPr>
          <a:xfrm>
            <a:off x="0" y="4621427"/>
            <a:ext cx="12192000" cy="22365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57170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Nr.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22365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96903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67649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56970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out footer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292602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4962863" y="5880852"/>
            <a:ext cx="2266277" cy="9771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51369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ARKBLUE">
    <p:bg bwMode="lt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37">
            <a:extLst>
              <a:ext uri="{FF2B5EF4-FFF2-40B4-BE49-F238E27FC236}">
                <a16:creationId xmlns:a16="http://schemas.microsoft.com/office/drawing/2014/main" id="{C3C3D34D-91E6-4296-AEAE-892B16A706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50933" y="3911600"/>
            <a:ext cx="11099658" cy="2304000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1" name="Textplatzhalter 37">
            <a:extLst>
              <a:ext uri="{FF2B5EF4-FFF2-40B4-BE49-F238E27FC236}">
                <a16:creationId xmlns:a16="http://schemas.microsoft.com/office/drawing/2014/main" id="{A2393841-F478-4EBA-82AD-E788E27D2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50933" y="426812"/>
            <a:ext cx="11099658" cy="1908175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600" b="1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2" name="Grafik 4">
            <a:extLst>
              <a:ext uri="{FF2B5EF4-FFF2-40B4-BE49-F238E27FC236}">
                <a16:creationId xmlns:a16="http://schemas.microsoft.com/office/drawing/2014/main" id="{99ECAC7C-B2D7-4BB8-9994-98316A51D388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23E37686-37F9-4638-85FD-1ECB4B6D0ED0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1" name="Hilfslinie">
              <a:extLst>
                <a:ext uri="{FF2B5EF4-FFF2-40B4-BE49-F238E27FC236}">
                  <a16:creationId xmlns:a16="http://schemas.microsoft.com/office/drawing/2014/main" id="{3B46ECEB-F63A-4F9C-B475-B5E2EE4B5E87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484EAA20-B9B2-4A5F-A27C-F1A4050AB4C0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DEC1ED72-5E43-4641-B537-008A949AA31F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F5D7CEA9-ABE0-4E52-9F5B-56008BAC0C6C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AFCAEC1B-1E82-4B80-BF9B-E217EF214F6E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41FBE30D-C007-4F4C-92C1-9834CB5D67E9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63E47888-73DA-4EB3-9290-E8EFD61E5950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78DFF624-ADE9-4790-891A-0765880E8261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74259A6A-64D9-4BFD-A792-73C143563E4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C31E7414-5C0C-4024-A7F3-D15A0BA47E5D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D237B748-EB19-409D-AF66-78CB42CC18ED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55ED3490-D9E1-427D-9EEB-2D93B661AA80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48418BA5-28B0-422F-8348-53CA5E91BF45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7036B5F7-E22F-4CAB-8E52-4EF09E0C9D97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AB24CCDB-C3B4-4BF6-8E6E-ACC741EA1C9C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736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9992E-6 -0.03773 L -1.39992E-6 -2.96296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/>
    </p:bldLst>
  </p:timing>
  <p:hf sldNum="0"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8FD6F78-A240-C24D-9926-0A0579F924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96" y="-6655"/>
            <a:ext cx="12198096" cy="6864655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810" y="1394786"/>
            <a:ext cx="9487324" cy="304679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70000"/>
              </a:lnSpc>
              <a:defRPr sz="9600" cap="all" spc="-300" baseline="0"/>
            </a:lvl1pPr>
          </a:lstStyle>
          <a:p>
            <a:r>
              <a:rPr lang="en-US"/>
              <a:t>INSERT HEADLINE HERE – 96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444" y="4755650"/>
            <a:ext cx="9487324" cy="71757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4500" cap="none" spc="-50" baseline="0">
                <a:solidFill>
                  <a:schemeClr val="bg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Here – 45 Point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51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152059499"/>
      </p:ext>
    </p:extLst>
  </p:cSld>
  <p:clrMapOvr>
    <a:masterClrMapping/>
  </p:clrMapOvr>
  <p:transition>
    <p:fade/>
  </p:transition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52DD3AAA-5A39-954C-AB7C-75865EFC21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95" t="7265" r="16299" b="34679"/>
          <a:stretch/>
        </p:blipFill>
        <p:spPr>
          <a:xfrm flipH="1" flipV="1">
            <a:off x="2782" y="-6655"/>
            <a:ext cx="12198096" cy="686465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B53D004-344C-604C-8F67-C31889F5A68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9000">
                <a:schemeClr val="bg2">
                  <a:lumMod val="75000"/>
                  <a:alpha val="24000"/>
                </a:schemeClr>
              </a:gs>
              <a:gs pos="57000">
                <a:schemeClr val="bg2">
                  <a:lumMod val="75000"/>
                  <a:alpha val="52000"/>
                </a:schemeClr>
              </a:gs>
              <a:gs pos="28000">
                <a:schemeClr val="bg2">
                  <a:lumMod val="75000"/>
                  <a:alpha val="28000"/>
                </a:schemeClr>
              </a:gs>
              <a:gs pos="87000">
                <a:schemeClr val="bg1">
                  <a:alpha val="0"/>
                </a:schemeClr>
              </a:gs>
            </a:gsLst>
            <a:lin ang="195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444" y="4755650"/>
            <a:ext cx="9487324" cy="71757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4500" cap="none" spc="-50" baseline="0">
                <a:solidFill>
                  <a:schemeClr val="bg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Here – 45 Point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810" y="1394786"/>
            <a:ext cx="9487324" cy="304679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70000"/>
              </a:lnSpc>
              <a:defRPr sz="9600" cap="all" spc="-300" baseline="0"/>
            </a:lvl1pPr>
          </a:lstStyle>
          <a:p>
            <a:r>
              <a:rPr lang="en-US"/>
              <a:t>INSERT HEADLINE HERE – 96 POINT Calibri light</a:t>
            </a:r>
          </a:p>
        </p:txBody>
      </p:sp>
    </p:spTree>
    <p:extLst>
      <p:ext uri="{BB962C8B-B14F-4D97-AF65-F5344CB8AC3E}">
        <p14:creationId xmlns:p14="http://schemas.microsoft.com/office/powerpoint/2010/main" val="1359367290"/>
      </p:ext>
    </p:extLst>
  </p:cSld>
  <p:clrMapOvr>
    <a:masterClrMapping/>
  </p:clrMapOvr>
  <p:transition>
    <p:fade/>
  </p:transition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F0F8D39-71CF-1F4B-B879-E30FE87CB1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8" t="9794" r="5328" b="979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54A5DF6-4DC6-AD42-AC71-6419D332AE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810" y="1394786"/>
            <a:ext cx="9487324" cy="304679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70000"/>
              </a:lnSpc>
              <a:defRPr sz="9600" cap="all" spc="-300" baseline="0"/>
            </a:lvl1pPr>
          </a:lstStyle>
          <a:p>
            <a:r>
              <a:rPr lang="en-US"/>
              <a:t>INSERT HEADLINE HERE – 96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444" y="4755650"/>
            <a:ext cx="9487324" cy="71757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4500" cap="none" spc="-50" baseline="0">
                <a:solidFill>
                  <a:schemeClr val="bg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Here – 45 Point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16769910"/>
      </p:ext>
    </p:extLst>
  </p:cSld>
  <p:clrMapOvr>
    <a:masterClrMapping/>
  </p:clrMapOvr>
  <p:transition>
    <p:fade/>
  </p:transition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hot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8606244-9CCA-C94D-82E1-319D628C52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8" t="13119" b="9126"/>
          <a:stretch/>
        </p:blipFill>
        <p:spPr>
          <a:xfrm>
            <a:off x="8878" y="-6655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A372328-CA8D-A54B-B5B8-C0618C235C6F}"/>
              </a:ext>
            </a:extLst>
          </p:cNvPr>
          <p:cNvSpPr/>
          <p:nvPr userDrawn="1"/>
        </p:nvSpPr>
        <p:spPr>
          <a:xfrm>
            <a:off x="-8878" y="6655"/>
            <a:ext cx="12192000" cy="6858000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810" y="1394786"/>
            <a:ext cx="9487324" cy="304679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70000"/>
              </a:lnSpc>
              <a:defRPr sz="9600" cap="all" spc="-300" baseline="0"/>
            </a:lvl1pPr>
          </a:lstStyle>
          <a:p>
            <a:r>
              <a:rPr lang="en-US"/>
              <a:t>INSERT HEADLINE HERE – 96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444" y="4755650"/>
            <a:ext cx="9487324" cy="71757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4500" cap="none" spc="-50" baseline="0">
                <a:solidFill>
                  <a:schemeClr val="bg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Here – 45 Point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2343198934"/>
      </p:ext>
    </p:extLst>
  </p:cSld>
  <p:clrMapOvr>
    <a:masterClrMapping/>
  </p:clrMapOvr>
  <p:transition>
    <p:fade/>
  </p:transition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ho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C8270F1-0584-8F40-BC01-CC00DF3173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49" t="18120" r="25821" b="12649"/>
          <a:stretch/>
        </p:blipFill>
        <p:spPr>
          <a:xfrm>
            <a:off x="8878" y="-6655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5020C1C-5EB4-C64A-AA5B-1608022922E1}"/>
              </a:ext>
            </a:extLst>
          </p:cNvPr>
          <p:cNvSpPr/>
          <p:nvPr userDrawn="1"/>
        </p:nvSpPr>
        <p:spPr>
          <a:xfrm>
            <a:off x="411" y="-6655"/>
            <a:ext cx="12192000" cy="6858000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810" y="1394786"/>
            <a:ext cx="9487324" cy="304679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70000"/>
              </a:lnSpc>
              <a:defRPr sz="9600" cap="all" spc="-300" baseline="0"/>
            </a:lvl1pPr>
          </a:lstStyle>
          <a:p>
            <a:r>
              <a:rPr lang="en-US"/>
              <a:t>INSERT HEADLINE HERE – 96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444" y="4755650"/>
            <a:ext cx="9487324" cy="71757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4500" cap="none" spc="-50" baseline="0">
                <a:solidFill>
                  <a:schemeClr val="bg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Here – 45 Point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1811959582"/>
      </p:ext>
    </p:extLst>
  </p:cSld>
  <p:clrMapOvr>
    <a:masterClrMapping/>
  </p:clrMapOvr>
  <p:transition>
    <p:fade/>
  </p:transition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hot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2B73E67F-DF31-9243-8AB1-45E33E0C0B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7" t="21721" r="13124" b="1757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1C570C6-998F-624F-9AD8-B4CEEFE9EEDC}"/>
              </a:ext>
            </a:extLst>
          </p:cNvPr>
          <p:cNvSpPr/>
          <p:nvPr userDrawn="1"/>
        </p:nvSpPr>
        <p:spPr>
          <a:xfrm>
            <a:off x="8878" y="0"/>
            <a:ext cx="12192000" cy="685800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810" y="1394786"/>
            <a:ext cx="9487324" cy="304679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70000"/>
              </a:lnSpc>
              <a:defRPr sz="9600" cap="all" spc="-300" baseline="0"/>
            </a:lvl1pPr>
          </a:lstStyle>
          <a:p>
            <a:r>
              <a:rPr lang="en-US"/>
              <a:t>INSERT HEADLINE HERE – 96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444" y="4755650"/>
            <a:ext cx="9487324" cy="71757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4500" cap="none" spc="-50" baseline="0">
                <a:solidFill>
                  <a:schemeClr val="bg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Here – 45 Point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2200255072"/>
      </p:ext>
    </p:extLst>
  </p:cSld>
  <p:clrMapOvr>
    <a:masterClrMapping/>
  </p:clrMapOvr>
  <p:transition>
    <p:fade/>
  </p:transition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hoto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CC70FED-FE18-6E4C-9233-FE3AD7700E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" t="33903" r="7"/>
          <a:stretch/>
        </p:blipFill>
        <p:spPr>
          <a:xfrm>
            <a:off x="-8878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6FE39C-2783-DB40-BBC2-EE3F3F13BA58}"/>
              </a:ext>
            </a:extLst>
          </p:cNvPr>
          <p:cNvSpPr/>
          <p:nvPr userDrawn="1"/>
        </p:nvSpPr>
        <p:spPr>
          <a:xfrm>
            <a:off x="-8878" y="12514"/>
            <a:ext cx="12192000" cy="6858000"/>
          </a:xfrm>
          <a:prstGeom prst="rect">
            <a:avLst/>
          </a:prstGeom>
          <a:solidFill>
            <a:srgbClr val="000023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3810" y="1394786"/>
            <a:ext cx="9487324" cy="304679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70000"/>
              </a:lnSpc>
              <a:defRPr sz="9600" cap="all" spc="-300" baseline="0"/>
            </a:lvl1pPr>
          </a:lstStyle>
          <a:p>
            <a:r>
              <a:rPr lang="en-US"/>
              <a:t>INSERT HEADLINE HERE – 96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3444" y="4755650"/>
            <a:ext cx="9487324" cy="717578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4500" cap="none" spc="-50" baseline="0">
                <a:solidFill>
                  <a:schemeClr val="bg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Here – 45 Point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2330486637"/>
      </p:ext>
    </p:extLst>
  </p:cSld>
  <p:clrMapOvr>
    <a:masterClrMapping/>
  </p:clrMapOvr>
  <p:transition>
    <p:fade/>
  </p:transition>
  <p:hf sldNum="0"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an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CC70FED-FE18-6E4C-9233-FE3AD7700E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" t="33903" r="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6FE39C-2783-DB40-BBC2-EE3F3F13BA58}"/>
              </a:ext>
            </a:extLst>
          </p:cNvPr>
          <p:cNvSpPr/>
          <p:nvPr userDrawn="1"/>
        </p:nvSpPr>
        <p:spPr>
          <a:xfrm>
            <a:off x="700192" y="671510"/>
            <a:ext cx="7207433" cy="4791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1569" y="1303324"/>
            <a:ext cx="6333480" cy="2714635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80000"/>
              </a:lnSpc>
              <a:defRPr sz="7400" cap="all" spc="-300" baseline="0">
                <a:gradFill>
                  <a:gsLst>
                    <a:gs pos="70000">
                      <a:schemeClr val="bg2">
                        <a:lumMod val="99000"/>
                      </a:schemeClr>
                    </a:gs>
                    <a:gs pos="30000">
                      <a:srgbClr val="00A0FF"/>
                    </a:gs>
                    <a:gs pos="0">
                      <a:srgbClr val="0066EE"/>
                    </a:gs>
                    <a:gs pos="100000">
                      <a:srgbClr val="00DDFF"/>
                    </a:gs>
                  </a:gsLst>
                  <a:lin ang="4200000" scaled="0"/>
                </a:gradFill>
              </a:defRPr>
            </a:lvl1pPr>
          </a:lstStyle>
          <a:p>
            <a:r>
              <a:rPr lang="en-US"/>
              <a:t>INSERT HEADLINE HERE – 74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1569" y="4291409"/>
            <a:ext cx="6333480" cy="579191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3500" cap="none" spc="-50" baseline="0">
                <a:solidFill>
                  <a:schemeClr val="tx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– 35 </a:t>
            </a:r>
            <a:r>
              <a:rPr lang="en-US" err="1"/>
              <a:t>pt</a:t>
            </a:r>
            <a:r>
              <a:rPr lang="en-US"/>
              <a:t>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3879407860"/>
      </p:ext>
    </p:extLst>
  </p:cSld>
  <p:clrMapOvr>
    <a:masterClrMapping/>
  </p:clrMapOvr>
  <p:transition>
    <p:fade/>
  </p:transition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an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EB063E6-FE19-AC47-9035-312F2FF4C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06" t="5580" r="16252" b="34608"/>
          <a:stretch/>
        </p:blipFill>
        <p:spPr>
          <a:xfrm flipH="1" flipV="1">
            <a:off x="2782" y="-6655"/>
            <a:ext cx="12198096" cy="686465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6FE39C-2783-DB40-BBC2-EE3F3F13BA58}"/>
              </a:ext>
            </a:extLst>
          </p:cNvPr>
          <p:cNvSpPr/>
          <p:nvPr userDrawn="1"/>
        </p:nvSpPr>
        <p:spPr>
          <a:xfrm>
            <a:off x="700192" y="671510"/>
            <a:ext cx="7207433" cy="4791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1569" y="1303324"/>
            <a:ext cx="6333480" cy="2714635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80000"/>
              </a:lnSpc>
              <a:defRPr sz="7400" cap="all" spc="-300" baseline="0">
                <a:gradFill>
                  <a:gsLst>
                    <a:gs pos="70000">
                      <a:schemeClr val="bg2">
                        <a:lumMod val="99000"/>
                      </a:schemeClr>
                    </a:gs>
                    <a:gs pos="30000">
                      <a:srgbClr val="00A0FF"/>
                    </a:gs>
                    <a:gs pos="0">
                      <a:srgbClr val="0066EE"/>
                    </a:gs>
                    <a:gs pos="100000">
                      <a:srgbClr val="00DDFF"/>
                    </a:gs>
                  </a:gsLst>
                  <a:lin ang="4200000" scaled="0"/>
                </a:gradFill>
              </a:defRPr>
            </a:lvl1pPr>
          </a:lstStyle>
          <a:p>
            <a:r>
              <a:rPr lang="en-US"/>
              <a:t>INSERT HEADLINE HERE – 74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1569" y="4291409"/>
            <a:ext cx="6333480" cy="579191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3500" cap="none" spc="-50" baseline="0">
                <a:solidFill>
                  <a:schemeClr val="tx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– 35 </a:t>
            </a:r>
            <a:r>
              <a:rPr lang="en-US" err="1"/>
              <a:t>pt</a:t>
            </a:r>
            <a:r>
              <a:rPr lang="en-US"/>
              <a:t>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1470250027"/>
      </p:ext>
    </p:extLst>
  </p:cSld>
  <p:clrMapOvr>
    <a:masterClrMapping/>
  </p:clrMapOvr>
  <p:transition>
    <p:fade/>
  </p:transition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ane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D2C6222-F143-DD42-AB0F-7786516BA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68" r="30891" b="1193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6FE39C-2783-DB40-BBC2-EE3F3F13BA58}"/>
              </a:ext>
            </a:extLst>
          </p:cNvPr>
          <p:cNvSpPr/>
          <p:nvPr userDrawn="1"/>
        </p:nvSpPr>
        <p:spPr>
          <a:xfrm>
            <a:off x="700192" y="671510"/>
            <a:ext cx="7207433" cy="4791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1569" y="1303324"/>
            <a:ext cx="6333480" cy="2714635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80000"/>
              </a:lnSpc>
              <a:defRPr sz="7400" cap="all" spc="-300" baseline="0">
                <a:gradFill>
                  <a:gsLst>
                    <a:gs pos="70000">
                      <a:schemeClr val="bg2">
                        <a:lumMod val="99000"/>
                      </a:schemeClr>
                    </a:gs>
                    <a:gs pos="30000">
                      <a:srgbClr val="00A0FF"/>
                    </a:gs>
                    <a:gs pos="0">
                      <a:srgbClr val="0066EE"/>
                    </a:gs>
                    <a:gs pos="100000">
                      <a:srgbClr val="00DDFF"/>
                    </a:gs>
                  </a:gsLst>
                  <a:lin ang="4200000" scaled="0"/>
                </a:gradFill>
              </a:defRPr>
            </a:lvl1pPr>
          </a:lstStyle>
          <a:p>
            <a:r>
              <a:rPr lang="en-US"/>
              <a:t>INSERT HEADLINE HERE – 74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1569" y="4291409"/>
            <a:ext cx="6333480" cy="579191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3500" cap="none" spc="-50" baseline="0">
                <a:solidFill>
                  <a:schemeClr val="tx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– 35 </a:t>
            </a:r>
            <a:r>
              <a:rPr lang="en-US" err="1"/>
              <a:t>pt</a:t>
            </a:r>
            <a:r>
              <a:rPr lang="en-US"/>
              <a:t>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460982512"/>
      </p:ext>
    </p:extLst>
  </p:cSld>
  <p:clrMapOvr>
    <a:masterClrMapping/>
  </p:clrMapOvr>
  <p:transition>
    <p:fade/>
  </p:transition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BLUE">
    <p:bg bwMode="ltGray">
      <p:bgPr>
        <a:gradFill>
          <a:gsLst>
            <a:gs pos="0">
              <a:schemeClr val="accent4"/>
            </a:gs>
            <a:gs pos="100000">
              <a:schemeClr val="accent5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37">
            <a:extLst>
              <a:ext uri="{FF2B5EF4-FFF2-40B4-BE49-F238E27FC236}">
                <a16:creationId xmlns:a16="http://schemas.microsoft.com/office/drawing/2014/main" id="{C3C3D34D-91E6-4296-AEAE-892B16A706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50933" y="3911600"/>
            <a:ext cx="11099658" cy="2304000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1" name="Textplatzhalter 37">
            <a:extLst>
              <a:ext uri="{FF2B5EF4-FFF2-40B4-BE49-F238E27FC236}">
                <a16:creationId xmlns:a16="http://schemas.microsoft.com/office/drawing/2014/main" id="{A2393841-F478-4EBA-82AD-E788E27D2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50933" y="426812"/>
            <a:ext cx="11099658" cy="1908175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600" b="1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2" name="Grafik 4">
            <a:extLst>
              <a:ext uri="{FF2B5EF4-FFF2-40B4-BE49-F238E27FC236}">
                <a16:creationId xmlns:a16="http://schemas.microsoft.com/office/drawing/2014/main" id="{99ECAC7C-B2D7-4BB8-9994-98316A51D388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AB14D68D-D29E-42B5-BB02-79A0EF6BF775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1" name="Hilfslinie">
              <a:extLst>
                <a:ext uri="{FF2B5EF4-FFF2-40B4-BE49-F238E27FC236}">
                  <a16:creationId xmlns:a16="http://schemas.microsoft.com/office/drawing/2014/main" id="{5ACDCCB7-7D6B-4B26-A1DA-01FA20FC3E65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32380150-AADE-4804-8513-34D47F5C769E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47950D44-6B5F-47DA-8B9E-ED9DFC362CE7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47D379B0-14D7-42C9-9953-73C81A50A5AC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836B24C6-EAAB-4C91-A620-3B7A46F2CEE6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33A28CB0-E022-495A-A331-E25D4B1BA0F8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0789A047-211E-457B-B45F-5CBF27A215C1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9B9F2F4A-6E87-44FE-B10A-ED6B390F83D9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1D6B845F-3918-4432-A003-36EF5B051A9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D233BB7E-0CC2-4C81-908A-42955967C78B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64A0F782-00C0-4BB6-899F-F8F37D3C3F8C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243F917A-136D-4BC9-9055-B4AA4A59D504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BD99B10C-9CA3-4F44-B39F-5749B8285AB9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B6ED5DA3-CC5F-40DC-A0E2-692EED43CE7D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08E29E25-222F-4A18-A4F5-77D11943766C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040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9992E-6 -0.03773 L -1.39992E-6 -2.96296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/>
    </p:bldLst>
  </p:timing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/ Divider Pane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5B4D8C49-894B-1844-B5C6-EB1DBE67DC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" t="19138" r="6020" b="167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6FE39C-2783-DB40-BBC2-EE3F3F13BA58}"/>
              </a:ext>
            </a:extLst>
          </p:cNvPr>
          <p:cNvSpPr/>
          <p:nvPr userDrawn="1"/>
        </p:nvSpPr>
        <p:spPr>
          <a:xfrm>
            <a:off x="700192" y="671510"/>
            <a:ext cx="7207433" cy="4791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1569" y="1303324"/>
            <a:ext cx="6333480" cy="2714635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80000"/>
              </a:lnSpc>
              <a:defRPr sz="7400" cap="all" spc="-300" baseline="0">
                <a:gradFill>
                  <a:gsLst>
                    <a:gs pos="70000">
                      <a:schemeClr val="bg2">
                        <a:lumMod val="99000"/>
                      </a:schemeClr>
                    </a:gs>
                    <a:gs pos="30000">
                      <a:srgbClr val="00A0FF"/>
                    </a:gs>
                    <a:gs pos="0">
                      <a:srgbClr val="0066EE"/>
                    </a:gs>
                    <a:gs pos="100000">
                      <a:srgbClr val="00DDFF"/>
                    </a:gs>
                  </a:gsLst>
                  <a:lin ang="4200000" scaled="0"/>
                </a:gradFill>
              </a:defRPr>
            </a:lvl1pPr>
          </a:lstStyle>
          <a:p>
            <a:r>
              <a:rPr lang="en-US"/>
              <a:t>INSERT HEADLINE HERE – 74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1569" y="4291409"/>
            <a:ext cx="6333480" cy="579191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3500" cap="none" spc="-50" baseline="0">
                <a:solidFill>
                  <a:schemeClr val="tx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– 35 </a:t>
            </a:r>
            <a:r>
              <a:rPr lang="en-US" err="1"/>
              <a:t>pt</a:t>
            </a:r>
            <a:r>
              <a:rPr lang="en-US"/>
              <a:t>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1198920877"/>
      </p:ext>
    </p:extLst>
  </p:cSld>
  <p:clrMapOvr>
    <a:masterClrMapping/>
  </p:clrMapOvr>
  <p:transition>
    <p:fade/>
  </p:transition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/ Divider Pane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39E32321-5CDF-EF43-A089-2B45CCFC05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" t="16638" r="29289" b="12702"/>
          <a:stretch/>
        </p:blipFill>
        <p:spPr>
          <a:xfrm>
            <a:off x="640" y="-6655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66FE39C-2783-DB40-BBC2-EE3F3F13BA58}"/>
              </a:ext>
            </a:extLst>
          </p:cNvPr>
          <p:cNvSpPr/>
          <p:nvPr userDrawn="1"/>
        </p:nvSpPr>
        <p:spPr>
          <a:xfrm>
            <a:off x="700192" y="671510"/>
            <a:ext cx="7207433" cy="4791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6E021605-3D82-BC4E-A4EF-8BB50FF74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21569" y="1303324"/>
            <a:ext cx="6333480" cy="2714635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80000"/>
              </a:lnSpc>
              <a:defRPr sz="7400" cap="all" spc="-300" baseline="0">
                <a:gradFill>
                  <a:gsLst>
                    <a:gs pos="70000">
                      <a:schemeClr val="bg2">
                        <a:lumMod val="99000"/>
                      </a:schemeClr>
                    </a:gs>
                    <a:gs pos="30000">
                      <a:srgbClr val="00A0FF"/>
                    </a:gs>
                    <a:gs pos="0">
                      <a:srgbClr val="0066EE"/>
                    </a:gs>
                    <a:gs pos="100000">
                      <a:srgbClr val="00DDFF"/>
                    </a:gs>
                  </a:gsLst>
                  <a:lin ang="4200000" scaled="0"/>
                </a:gradFill>
              </a:defRPr>
            </a:lvl1pPr>
          </a:lstStyle>
          <a:p>
            <a:r>
              <a:rPr lang="en-US"/>
              <a:t>INSERT HEADLINE HERE – 74 POINT Calibri ligh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82F7942-D9CD-2B4D-B568-451E0A1B47A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02" y="672613"/>
            <a:ext cx="762330" cy="762330"/>
          </a:xfrm>
          <a:prstGeom prst="rect">
            <a:avLst/>
          </a:prstGeom>
        </p:spPr>
      </p:pic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2DF486EB-1902-3A42-B1DA-B5449404A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1569" y="4291409"/>
            <a:ext cx="6333480" cy="579191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3500" cap="none" spc="-50" baseline="0">
                <a:solidFill>
                  <a:schemeClr val="tx1"/>
                </a:solidFill>
              </a:defRPr>
            </a:lvl1pPr>
            <a:lvl2pPr marL="338138" indent="0">
              <a:buNone/>
              <a:defRPr/>
            </a:lvl2pPr>
            <a:lvl3pPr marL="573088" indent="0">
              <a:buNone/>
              <a:defRPr/>
            </a:lvl3pPr>
            <a:lvl4pPr marL="800100" indent="0">
              <a:buNone/>
              <a:defRPr/>
            </a:lvl4pPr>
            <a:lvl5pPr marL="1022350" indent="0">
              <a:buNone/>
              <a:defRPr/>
            </a:lvl5pPr>
          </a:lstStyle>
          <a:p>
            <a:r>
              <a:rPr lang="en-US"/>
              <a:t>Insert Subtitle – 35 </a:t>
            </a:r>
            <a:r>
              <a:rPr lang="en-US" err="1"/>
              <a:t>pt</a:t>
            </a:r>
            <a:r>
              <a:rPr lang="en-US"/>
              <a:t> Calibri Ligh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D828F4-536A-6D4D-9773-00CEBDCE0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4017" y="6435380"/>
            <a:ext cx="9486900" cy="250825"/>
          </a:xfrm>
          <a:prstGeom prst="rect">
            <a:avLst/>
          </a:prstGeom>
        </p:spPr>
        <p:txBody>
          <a:bodyPr lIns="64008" rIns="64008" anchor="ctr"/>
          <a:lstStyle>
            <a:lvl1pPr marL="0" indent="0">
              <a:buFontTx/>
              <a:buNone/>
              <a:defRPr sz="900" spc="60" baseline="0">
                <a:solidFill>
                  <a:schemeClr val="bg1"/>
                </a:solidFill>
              </a:defRPr>
            </a:lvl1pPr>
            <a:lvl2pPr marL="338138" indent="0">
              <a:buFontTx/>
              <a:buNone/>
              <a:defRPr sz="900">
                <a:solidFill>
                  <a:schemeClr val="bg1"/>
                </a:solidFill>
              </a:defRPr>
            </a:lvl2pPr>
            <a:lvl3pPr marL="573088" indent="0">
              <a:buFontTx/>
              <a:buNone/>
              <a:defRPr sz="900">
                <a:solidFill>
                  <a:schemeClr val="bg1"/>
                </a:solidFill>
              </a:defRPr>
            </a:lvl3pPr>
            <a:lvl4pPr marL="800100" indent="0">
              <a:buFontTx/>
              <a:buNone/>
              <a:defRPr sz="900">
                <a:solidFill>
                  <a:schemeClr val="bg1"/>
                </a:solidFill>
              </a:defRPr>
            </a:lvl4pPr>
            <a:lvl5pPr marL="1022350" indent="0">
              <a:buFontTx/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© BALL CORPORATION  |  10 LONGS PEAK DRIVE  |  BROOMFIELD, COLORADO  80021  |  303-469-3131  |  WWW. BALL.COM</a:t>
            </a:r>
          </a:p>
        </p:txBody>
      </p:sp>
    </p:spTree>
    <p:extLst>
      <p:ext uri="{BB962C8B-B14F-4D97-AF65-F5344CB8AC3E}">
        <p14:creationId xmlns:p14="http://schemas.microsoft.com/office/powerpoint/2010/main" val="644191717"/>
      </p:ext>
    </p:extLst>
  </p:cSld>
  <p:clrMapOvr>
    <a:masterClrMapping/>
  </p:clrMapOvr>
  <p:transition>
    <p:fade/>
  </p:transition>
  <p:hf sldNum="0"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7676496"/>
      </p:ext>
    </p:extLst>
  </p:cSld>
  <p:clrMapOvr>
    <a:masterClrMapping/>
  </p:clrMapOvr>
  <p:transition>
    <p:fade/>
  </p:transition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31A4DD3-0679-D844-ABD1-D1BBBA28D48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64084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95B0870B-FB71-104C-892F-0BA11F40F8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3133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6FE7E082-70DB-B946-B892-5DC6A94399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3944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F9EB7E3F-C525-8E46-B62E-8AFD9B113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483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625AA2A-8633-7C4B-9722-1F92CE847665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58509"/>
      </p:ext>
    </p:extLst>
  </p:cSld>
  <p:clrMapOvr>
    <a:masterClrMapping/>
  </p:clrMapOvr>
  <p:transition>
    <p:fade/>
  </p:transition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A632C3DE-0028-504C-A56A-9D8F45543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544" y="1527331"/>
            <a:ext cx="10831655" cy="4020063"/>
          </a:xfrm>
          <a:prstGeom prst="rect">
            <a:avLst/>
          </a:prstGeom>
        </p:spPr>
        <p:txBody>
          <a:bodyPr lIns="0" rIns="0"/>
          <a:lstStyle>
            <a:lvl1pPr marL="27432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 sz="2200"/>
            </a:lvl1pPr>
            <a:lvl2pPr marL="54864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Standard bulleted text – 22 point Calibri Light</a:t>
            </a:r>
          </a:p>
          <a:p>
            <a:pPr lvl="1"/>
            <a:r>
              <a:rPr lang="en-US"/>
              <a:t>Second level bulleted text – 20 point Calibri Light</a:t>
            </a:r>
          </a:p>
          <a:p>
            <a:pPr lvl="2"/>
            <a:r>
              <a:rPr lang="en-US"/>
              <a:t>Third level bulleted text – 18 point Calibri Light</a:t>
            </a:r>
          </a:p>
          <a:p>
            <a:pPr lvl="3"/>
            <a:r>
              <a:rPr lang="en-US"/>
              <a:t>Fourth level bulleted text – 16 point Calibri Light</a:t>
            </a:r>
          </a:p>
          <a:p>
            <a:pPr lvl="4"/>
            <a:r>
              <a:rPr lang="en-US"/>
              <a:t>Fifth level bulleted text – 16 point Calibri Ligh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6E2752-6434-4842-82D0-7EDC10434D1B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449813"/>
      </p:ext>
    </p:extLst>
  </p:cSld>
  <p:clrMapOvr>
    <a:masterClrMapping/>
  </p:clrMapOvr>
  <p:transition>
    <p:fade/>
  </p:transition>
  <p:hf sldNum="0"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Blank (band for photo overla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/>
              <a:t>INSERT HEADLINE HERE – 29 POINT CALIBRI LIGHT ALL CAP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E88FAC-6115-F743-A235-D4D4C8A85031}"/>
              </a:ext>
            </a:extLst>
          </p:cNvPr>
          <p:cNvSpPr/>
          <p:nvPr userDrawn="1"/>
        </p:nvSpPr>
        <p:spPr>
          <a:xfrm>
            <a:off x="0" y="6785977"/>
            <a:ext cx="12192000" cy="10058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147623"/>
      </p:ext>
    </p:extLst>
  </p:cSld>
  <p:clrMapOvr>
    <a:masterClrMapping/>
  </p:clrMapOvr>
  <p:transition>
    <p:fade/>
  </p:transition>
  <p:hf sldNum="0"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3E88FAC-6115-F743-A235-D4D4C8A85031}"/>
              </a:ext>
            </a:extLst>
          </p:cNvPr>
          <p:cNvSpPr/>
          <p:nvPr userDrawn="1"/>
        </p:nvSpPr>
        <p:spPr>
          <a:xfrm>
            <a:off x="0" y="6785977"/>
            <a:ext cx="12192000" cy="10058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DCAA84-1AA5-8548-A3F4-EC7805B5E0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042416"/>
            <a:ext cx="12188952" cy="57607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/>
              <a:t>INSERT HEADLINE HERE – 29 POINT CALIBRI LIGHT ALL CAP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5856E9-5534-E740-99DC-53A5538357FF}"/>
              </a:ext>
            </a:extLst>
          </p:cNvPr>
          <p:cNvSpPr txBox="1">
            <a:spLocks/>
          </p:cNvSpPr>
          <p:nvPr userDrawn="1"/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DDB60CE-C0A3-1D46-BF94-A54C2C865E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19AA460-361D-0440-8282-401570995592}"/>
              </a:ext>
            </a:extLst>
          </p:cNvPr>
          <p:cNvSpPr/>
          <p:nvPr userDrawn="1"/>
        </p:nvSpPr>
        <p:spPr>
          <a:xfrm>
            <a:off x="700193" y="1807027"/>
            <a:ext cx="36576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ECD4C38-8436-B44D-BA50-ADFA6248F0CE}"/>
              </a:ext>
            </a:extLst>
          </p:cNvPr>
          <p:cNvCxnSpPr>
            <a:cxnSpLocks/>
          </p:cNvCxnSpPr>
          <p:nvPr userDrawn="1"/>
        </p:nvCxnSpPr>
        <p:spPr>
          <a:xfrm>
            <a:off x="1113754" y="4368749"/>
            <a:ext cx="281738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BD72037-7A55-DC48-9E8A-6B241C4A75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1569" y="2201781"/>
            <a:ext cx="2809569" cy="2082527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3000" spc="-50" baseline="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Insert Photo Caption – 30 </a:t>
            </a:r>
            <a:r>
              <a:rPr lang="en-US" err="1"/>
              <a:t>pt</a:t>
            </a:r>
            <a:r>
              <a:rPr lang="en-US"/>
              <a:t> Calibri Light </a:t>
            </a:r>
            <a:br>
              <a:rPr lang="en-US"/>
            </a:br>
            <a:r>
              <a:rPr lang="en-US"/>
              <a:t>Lorem ipsum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194C7BEC-DFD8-DA40-A49C-F9213A53F2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1569" y="4582013"/>
            <a:ext cx="2809569" cy="684639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4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Insert Support Text – 14 </a:t>
            </a:r>
            <a:r>
              <a:rPr lang="en-US" err="1"/>
              <a:t>pt</a:t>
            </a:r>
            <a:r>
              <a:rPr lang="en-US"/>
              <a:t> Calibri Light</a:t>
            </a: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929265"/>
      </p:ext>
    </p:extLst>
  </p:cSld>
  <p:clrMapOvr>
    <a:masterClrMapping/>
  </p:clrMapOvr>
  <p:transition>
    <p:fade/>
  </p:transition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A632C3DE-0028-504C-A56A-9D8F45543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10944" y="1527331"/>
            <a:ext cx="536400" cy="4172463"/>
          </a:xfrm>
          <a:prstGeom prst="rect">
            <a:avLst/>
          </a:prstGeom>
        </p:spPr>
        <p:txBody>
          <a:bodyPr lIns="0" rIns="0"/>
          <a:lstStyle>
            <a:lvl1pPr marL="0" indent="0">
              <a:buSzPct val="80000"/>
              <a:buFontTx/>
              <a:buNone/>
              <a:defRPr sz="2200">
                <a:solidFill>
                  <a:schemeClr val="tx2"/>
                </a:solidFill>
              </a:defRPr>
            </a:lvl1pPr>
            <a:lvl2pPr marL="274320" indent="0">
              <a:buSzPct val="80000"/>
              <a:buFontTx/>
              <a:buNone/>
              <a:defRPr/>
            </a:lvl2pPr>
            <a:lvl3pPr marL="548640" indent="0">
              <a:buSzPct val="80000"/>
              <a:buFontTx/>
              <a:buNone/>
              <a:defRPr/>
            </a:lvl3pPr>
            <a:lvl4pPr marL="822960" indent="0">
              <a:buSzPct val="80000"/>
              <a:buFontTx/>
              <a:buNone/>
              <a:defRPr/>
            </a:lvl4pPr>
            <a:lvl5pPr marL="1097280" indent="0">
              <a:buSzPct val="80000"/>
              <a:buFontTx/>
              <a:buNone/>
              <a:defRPr/>
            </a:lvl5pPr>
          </a:lstStyle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  <a:p>
            <a:pPr lvl="0"/>
            <a:r>
              <a:rPr lang="en-US" dirty="0"/>
              <a:t>00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45DA74AA-8FF6-9241-8073-A614DAA3FF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56071" y="1527331"/>
            <a:ext cx="9450130" cy="4172463"/>
          </a:xfrm>
          <a:prstGeom prst="rect">
            <a:avLst/>
          </a:prstGeom>
        </p:spPr>
        <p:txBody>
          <a:bodyPr lIns="0" r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 sz="2200">
                <a:solidFill>
                  <a:schemeClr val="tx1"/>
                </a:solidFill>
              </a:defRPr>
            </a:lvl1pPr>
            <a:lvl2pPr marL="274320" indent="0">
              <a:buSzPct val="80000"/>
              <a:buFontTx/>
              <a:buNone/>
              <a:defRPr/>
            </a:lvl2pPr>
            <a:lvl3pPr marL="548640" indent="0">
              <a:buSzPct val="80000"/>
              <a:buFontTx/>
              <a:buNone/>
              <a:defRPr/>
            </a:lvl3pPr>
            <a:lvl4pPr marL="822960" indent="0">
              <a:buSzPct val="80000"/>
              <a:buFontTx/>
              <a:buNone/>
              <a:defRPr/>
            </a:lvl4pPr>
            <a:lvl5pPr marL="1097280" indent="0">
              <a:buSzPct val="80000"/>
              <a:buFontTx/>
              <a:buNone/>
              <a:defRPr/>
            </a:lvl5pPr>
          </a:lstStyle>
          <a:p>
            <a:pPr lvl="0"/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US" dirty="0"/>
              <a:t>CONTENTS – 22 POINT CALIBRI LIGHT</a:t>
            </a:r>
          </a:p>
          <a:p>
            <a:pPr lvl="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B9A047-1952-D748-960B-067CED4816D6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79805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A298318-8278-3940-9D2A-66983C1CA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4545" y="1426466"/>
            <a:ext cx="10831718" cy="604466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heading Here — 26 point Calibri Light</a:t>
            </a:r>
          </a:p>
        </p:txBody>
      </p:sp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A632C3DE-0028-504C-A56A-9D8F45543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544" y="2154113"/>
            <a:ext cx="10831655" cy="3599251"/>
          </a:xfrm>
          <a:prstGeom prst="rect">
            <a:avLst/>
          </a:prstGeom>
        </p:spPr>
        <p:txBody>
          <a:bodyPr lIns="0" rIns="0"/>
          <a:lstStyle>
            <a:lvl1pPr marL="27432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 sz="2200"/>
            </a:lvl1pPr>
            <a:lvl2pPr marL="54864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tandard bulleted text – 22 point Calibri Light</a:t>
            </a:r>
          </a:p>
          <a:p>
            <a:pPr lvl="1"/>
            <a:r>
              <a:rPr lang="en-US" dirty="0"/>
              <a:t>Second level bulleted text – 20 point Calibri Light</a:t>
            </a:r>
          </a:p>
          <a:p>
            <a:pPr lvl="2"/>
            <a:r>
              <a:rPr lang="en-US" dirty="0"/>
              <a:t>Third level bulleted text – 18 point Calibri Light</a:t>
            </a:r>
          </a:p>
          <a:p>
            <a:pPr lvl="3"/>
            <a:r>
              <a:rPr lang="en-US" dirty="0"/>
              <a:t>Fourth level bulleted text – 16 point Calibri Light</a:t>
            </a:r>
          </a:p>
          <a:p>
            <a:pPr lvl="4"/>
            <a:r>
              <a:rPr lang="en-US" dirty="0"/>
              <a:t>Fifth level bulleted text – 16 point Calibri Ligh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A56FCC-E008-4B4E-A8F7-670A71FDD2E5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31302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A632C3DE-0028-504C-A56A-9D8F45543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544" y="1527331"/>
            <a:ext cx="10831655" cy="4020063"/>
          </a:xfrm>
          <a:prstGeom prst="rect">
            <a:avLst/>
          </a:prstGeom>
        </p:spPr>
        <p:txBody>
          <a:bodyPr lIns="0" rIns="0"/>
          <a:lstStyle>
            <a:lvl1pPr marL="27432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 sz="2200"/>
            </a:lvl1pPr>
            <a:lvl2pPr marL="54864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tandard bulleted text – 22 point Calibri Light</a:t>
            </a:r>
          </a:p>
          <a:p>
            <a:pPr lvl="1"/>
            <a:r>
              <a:rPr lang="en-US" dirty="0"/>
              <a:t>Second level bulleted text – 20 point Calibri Light</a:t>
            </a:r>
          </a:p>
          <a:p>
            <a:pPr lvl="2"/>
            <a:r>
              <a:rPr lang="en-US" dirty="0"/>
              <a:t>Third level bulleted text – 18 point Calibri Light</a:t>
            </a:r>
          </a:p>
          <a:p>
            <a:pPr lvl="3"/>
            <a:r>
              <a:rPr lang="en-US" dirty="0"/>
              <a:t>Fourth level bulleted text – 16 point Calibri Light</a:t>
            </a:r>
          </a:p>
          <a:p>
            <a:pPr lvl="4"/>
            <a:r>
              <a:rPr lang="en-US" dirty="0"/>
              <a:t>Fifth level bulleted text – 16 point Calibri Ligh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6E2752-6434-4842-82D0-7EDC10434D1B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30645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DARKGREEN">
    <p:bg bwMode="ltGray">
      <p:bgPr>
        <a:gradFill>
          <a:gsLst>
            <a:gs pos="0">
              <a:schemeClr val="accent2"/>
            </a:gs>
            <a:gs pos="100000">
              <a:schemeClr val="accent3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37">
            <a:extLst>
              <a:ext uri="{FF2B5EF4-FFF2-40B4-BE49-F238E27FC236}">
                <a16:creationId xmlns:a16="http://schemas.microsoft.com/office/drawing/2014/main" id="{C3C3D34D-91E6-4296-AEAE-892B16A706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50933" y="3911600"/>
            <a:ext cx="11099658" cy="2304000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Chapter name.</a:t>
            </a:r>
          </a:p>
        </p:txBody>
      </p:sp>
      <p:sp>
        <p:nvSpPr>
          <p:cNvPr id="31" name="Textplatzhalter 37">
            <a:extLst>
              <a:ext uri="{FF2B5EF4-FFF2-40B4-BE49-F238E27FC236}">
                <a16:creationId xmlns:a16="http://schemas.microsoft.com/office/drawing/2014/main" id="{A2393841-F478-4EBA-82AD-E788E27D2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50933" y="426812"/>
            <a:ext cx="11099658" cy="1908175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600" b="1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pPr lvl="0"/>
            <a:r>
              <a:rPr lang="de-DE"/>
              <a:t>XX</a:t>
            </a:r>
          </a:p>
        </p:txBody>
      </p:sp>
      <p:sp>
        <p:nvSpPr>
          <p:cNvPr id="32" name="Grafik 4">
            <a:extLst>
              <a:ext uri="{FF2B5EF4-FFF2-40B4-BE49-F238E27FC236}">
                <a16:creationId xmlns:a16="http://schemas.microsoft.com/office/drawing/2014/main" id="{99ECAC7C-B2D7-4BB8-9994-98316A51D388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sz="180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B5D43E3C-3167-4988-B2B6-DD4822F09E2C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1" name="Hilfslinie">
              <a:extLst>
                <a:ext uri="{FF2B5EF4-FFF2-40B4-BE49-F238E27FC236}">
                  <a16:creationId xmlns:a16="http://schemas.microsoft.com/office/drawing/2014/main" id="{652EA6D5-4934-4FEC-A842-1E1427AC6467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65C6248E-8E22-46AB-BFF8-D938E15804BD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1E8150EA-3A26-43E2-94FA-6FD16AEC3E98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717B02C4-4DC8-4FE8-9A6D-9EF076C871E4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3F7217CF-117B-4C79-B39E-89BA629571F3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BC09072E-2F1C-487B-94E9-DE06A7244DE3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654CF674-E912-42AF-BB99-F55E06CCC085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331FC3FC-F6A1-4192-A41D-CEA736746D5F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C4BD0B7D-780E-41D4-949C-95CE03B523E8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3151EA37-99AF-4D1B-802C-E758D68A4A78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DA45ADF2-CF00-4010-B775-0D149D4DCFCD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E51086FD-FD86-48ED-9839-CE3697FBFA8B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2C047896-F230-4408-9722-4777A7008000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B9C57AF3-E9D5-4B69-B81B-BFC1A96A1298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D47EDB05-E7BE-42D0-A5B6-FB95DCFC96A3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4353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9992E-6 -0.03773 L -1.39992E-6 -2.96296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/>
    </p:bldLst>
  </p:timing>
  <p:hf sldNum="0"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A632C3DE-0028-504C-A56A-9D8F45543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3631" y="2144174"/>
            <a:ext cx="4982568" cy="3599251"/>
          </a:xfrm>
          <a:prstGeom prst="rect">
            <a:avLst/>
          </a:prstGeom>
        </p:spPr>
        <p:txBody>
          <a:bodyPr lIns="0" rIns="0"/>
          <a:lstStyle>
            <a:lvl1pPr marL="27432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 sz="2200"/>
            </a:lvl1pPr>
            <a:lvl2pPr marL="54864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tandard bulleted text – 22 point Calibri Light</a:t>
            </a:r>
          </a:p>
          <a:p>
            <a:pPr lvl="1"/>
            <a:r>
              <a:rPr lang="en-US" dirty="0"/>
              <a:t>Second level bulleted text – 20 point Calibri Light</a:t>
            </a:r>
          </a:p>
          <a:p>
            <a:pPr lvl="2"/>
            <a:r>
              <a:rPr lang="en-US" dirty="0"/>
              <a:t>Third level bulleted text – 18 point Calibri Light</a:t>
            </a:r>
          </a:p>
          <a:p>
            <a:pPr lvl="3"/>
            <a:r>
              <a:rPr lang="en-US" dirty="0"/>
              <a:t>Fourth level bulleted text – 16 point Calibri Light</a:t>
            </a:r>
          </a:p>
          <a:p>
            <a:pPr lvl="4"/>
            <a:r>
              <a:rPr lang="en-US" dirty="0"/>
              <a:t>Fifth level bulleted text – 16 point Calibri Ligh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EA5CB4AB-1A9E-D545-B617-17CC62AB898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542197"/>
            <a:ext cx="0" cy="4310557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5">
            <a:extLst>
              <a:ext uri="{FF2B5EF4-FFF2-40B4-BE49-F238E27FC236}">
                <a16:creationId xmlns:a16="http://schemas.microsoft.com/office/drawing/2014/main" id="{327CB110-CD43-EC47-9520-EF209F0BF0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8739" y="2144174"/>
            <a:ext cx="4982565" cy="3599251"/>
          </a:xfrm>
          <a:prstGeom prst="rect">
            <a:avLst/>
          </a:prstGeom>
        </p:spPr>
        <p:txBody>
          <a:bodyPr lIns="0" rIns="0"/>
          <a:lstStyle>
            <a:lvl1pPr marL="27432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 sz="2200"/>
            </a:lvl1pPr>
            <a:lvl2pPr marL="54864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tandard bulleted text – 22 point Calibri Light</a:t>
            </a:r>
          </a:p>
          <a:p>
            <a:pPr lvl="1"/>
            <a:r>
              <a:rPr lang="en-US" dirty="0"/>
              <a:t>Second level bulleted text – 20 point Calibri Light</a:t>
            </a:r>
          </a:p>
          <a:p>
            <a:pPr lvl="2"/>
            <a:r>
              <a:rPr lang="en-US" dirty="0"/>
              <a:t>Third level bulleted text – 18 point Calibri Light</a:t>
            </a:r>
          </a:p>
          <a:p>
            <a:pPr lvl="3"/>
            <a:r>
              <a:rPr lang="en-US" dirty="0"/>
              <a:t>Fourth level bulleted text – 16 point Calibri Light</a:t>
            </a:r>
          </a:p>
          <a:p>
            <a:pPr lvl="4"/>
            <a:r>
              <a:rPr lang="en-US" dirty="0"/>
              <a:t>Fifth level bulleted text – 16 point Calibri Light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8D9A97FA-7EA3-2D4D-9625-FBC9973FD7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4545" y="1426466"/>
            <a:ext cx="4993822" cy="574477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ubheading — 26 </a:t>
            </a:r>
            <a:r>
              <a:rPr lang="en-US" dirty="0" err="1"/>
              <a:t>pt</a:t>
            </a:r>
            <a:r>
              <a:rPr lang="en-US" dirty="0"/>
              <a:t> Calibri Light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1E5C5329-1A75-E044-8607-AF8C3014B5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02139" y="1426466"/>
            <a:ext cx="4993822" cy="574477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ubheading — 26 </a:t>
            </a:r>
            <a:r>
              <a:rPr lang="en-US" dirty="0" err="1"/>
              <a:t>pt</a:t>
            </a:r>
            <a:r>
              <a:rPr lang="en-US" dirty="0"/>
              <a:t> Calibri Ligh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3B1F50C-2B8C-0743-92B4-8B03907A67B4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8977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A298318-8278-3940-9D2A-66983C1CA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4546" y="1426466"/>
            <a:ext cx="2814090" cy="442628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heading Here — 26 point Calibri Light</a:t>
            </a:r>
          </a:p>
        </p:txBody>
      </p:sp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A632C3DE-0028-504C-A56A-9D8F45543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91000" y="1517873"/>
            <a:ext cx="7315200" cy="4334881"/>
          </a:xfrm>
          <a:prstGeom prst="rect">
            <a:avLst/>
          </a:prstGeom>
        </p:spPr>
        <p:txBody>
          <a:bodyPr lIns="0" rIns="0"/>
          <a:lstStyle>
            <a:lvl1pPr marL="27432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 sz="2200"/>
            </a:lvl1pPr>
            <a:lvl2pPr marL="54864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lnSpc>
                <a:spcPct val="100000"/>
              </a:lnSpc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tandard bulleted text – 22 point Calibri Light</a:t>
            </a:r>
          </a:p>
          <a:p>
            <a:pPr lvl="1"/>
            <a:r>
              <a:rPr lang="en-US" dirty="0"/>
              <a:t>Second level bulleted text – 20 point Calibri Light</a:t>
            </a:r>
          </a:p>
          <a:p>
            <a:pPr lvl="2"/>
            <a:r>
              <a:rPr lang="en-US" dirty="0"/>
              <a:t>Third level bulleted text – 18 point Calibri Light</a:t>
            </a:r>
          </a:p>
          <a:p>
            <a:pPr lvl="3"/>
            <a:r>
              <a:rPr lang="en-US" dirty="0"/>
              <a:t>Fourth level bulleted text – 16 point Calibri Light</a:t>
            </a:r>
          </a:p>
          <a:p>
            <a:pPr lvl="4"/>
            <a:r>
              <a:rPr lang="en-US" dirty="0"/>
              <a:t>Fifth level bulleted text – 16 point Calibri Ligh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7FF88A-30B4-E74B-8BBF-2437C151B1E0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C2BE168-0AD7-2B4C-A680-41F63E14F3EA}"/>
              </a:ext>
            </a:extLst>
          </p:cNvPr>
          <p:cNvCxnSpPr>
            <a:cxnSpLocks/>
          </p:cNvCxnSpPr>
          <p:nvPr userDrawn="1"/>
        </p:nvCxnSpPr>
        <p:spPr>
          <a:xfrm>
            <a:off x="3777533" y="1609279"/>
            <a:ext cx="0" cy="4243475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2849313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D356B4C-6BB2-724C-A63B-0510F889C11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91000" y="1555981"/>
            <a:ext cx="7315200" cy="429713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A298318-8278-3940-9D2A-66983C1CA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4545" y="1426466"/>
            <a:ext cx="3078589" cy="128157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heading Here — 26 point Calibri Ligh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7FF88A-30B4-E74B-8BBF-2437C151B1E0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43BBD6EC-1DCC-1A43-BB11-E413780053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545" y="2907495"/>
            <a:ext cx="3078589" cy="2650921"/>
          </a:xfrm>
          <a:prstGeom prst="rect">
            <a:avLst/>
          </a:prstGeom>
        </p:spPr>
        <p:txBody>
          <a:bodyPr lIns="0" rIns="91440"/>
          <a:lstStyle>
            <a:lvl1pPr marL="0" indent="0">
              <a:lnSpc>
                <a:spcPct val="100000"/>
              </a:lnSpc>
              <a:buSzPct val="80000"/>
              <a:buFont typeface="Arial" panose="020B0604020202020204" pitchFamily="34" charset="0"/>
              <a:buNone/>
              <a:defRPr sz="2000" baseline="0"/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 sz="1800"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 sz="1600"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 sz="1400"/>
            </a:lvl4pPr>
            <a:lvl5pPr marL="1097280" indent="0">
              <a:buSzPct val="80000"/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dirty="0"/>
              <a:t>Support text – 20 point Calibri Light</a:t>
            </a:r>
          </a:p>
        </p:txBody>
      </p:sp>
    </p:spTree>
    <p:extLst>
      <p:ext uri="{BB962C8B-B14F-4D97-AF65-F5344CB8AC3E}">
        <p14:creationId xmlns:p14="http://schemas.microsoft.com/office/powerpoint/2010/main" val="768216043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A298318-8278-3940-9D2A-66983C1CA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4545" y="1426466"/>
            <a:ext cx="3078589" cy="128157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heading Here — 26 point Calibri Ligh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7FF88A-30B4-E74B-8BBF-2437C151B1E0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43BBD6EC-1DCC-1A43-BB11-E413780053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545" y="2907495"/>
            <a:ext cx="3078589" cy="2650921"/>
          </a:xfrm>
          <a:prstGeom prst="rect">
            <a:avLst/>
          </a:prstGeom>
        </p:spPr>
        <p:txBody>
          <a:bodyPr lIns="0" rIns="91440"/>
          <a:lstStyle>
            <a:lvl1pPr marL="0" indent="0">
              <a:lnSpc>
                <a:spcPct val="100000"/>
              </a:lnSpc>
              <a:buSzPct val="80000"/>
              <a:buFont typeface="Arial" panose="020B0604020202020204" pitchFamily="34" charset="0"/>
              <a:buNone/>
              <a:defRPr sz="2000" baseline="0"/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 sz="1800"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 sz="1600"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 sz="1400"/>
            </a:lvl4pPr>
            <a:lvl5pPr marL="1097280" indent="0">
              <a:buSzPct val="80000"/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en-US" dirty="0"/>
              <a:t>Support text – 20 point Calibri Light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A8085606-A99C-8B44-B1C9-5DA11C8B49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33656" y="1555981"/>
            <a:ext cx="3474720" cy="429713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68B0FCE7-DE47-5148-B46B-B10B1CBCD9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90999" y="1555981"/>
            <a:ext cx="3474720" cy="429713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936440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A298318-8278-3940-9D2A-66983C1CA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4545" y="1257503"/>
            <a:ext cx="291481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ject Here</a:t>
            </a:r>
          </a:p>
        </p:txBody>
      </p:sp>
      <p:sp>
        <p:nvSpPr>
          <p:cNvPr id="24" name="Text Placeholder 25">
            <a:extLst>
              <a:ext uri="{FF2B5EF4-FFF2-40B4-BE49-F238E27FC236}">
                <a16:creationId xmlns:a16="http://schemas.microsoft.com/office/drawing/2014/main" id="{A632C3DE-0028-504C-A56A-9D8F45543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84374" y="1297259"/>
            <a:ext cx="732182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SzPct val="80000"/>
              <a:buFont typeface="Arial" panose="020B0604020202020204" pitchFamily="34" charset="0"/>
              <a:buNone/>
              <a:defRPr sz="2200"/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Description Here – 22 point Calibri Light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55879144-C89F-1840-91EA-8F292518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545" y="2185548"/>
            <a:ext cx="291481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ject Here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BFD72D24-BE94-0542-B075-47B24AAA6B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4374" y="2225304"/>
            <a:ext cx="732182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SzPct val="80000"/>
              <a:buFont typeface="Arial" panose="020B0604020202020204" pitchFamily="34" charset="0"/>
              <a:buNone/>
              <a:defRPr sz="2200"/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Description Here – 22 point Calibri Light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1" name="Text Placeholder 25">
            <a:extLst>
              <a:ext uri="{FF2B5EF4-FFF2-40B4-BE49-F238E27FC236}">
                <a16:creationId xmlns:a16="http://schemas.microsoft.com/office/drawing/2014/main" id="{7234BC1B-758F-C94A-8D85-F9A9411B3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545" y="3111632"/>
            <a:ext cx="291481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ject Here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B4532CC-9DE5-1B49-B530-E1FB6394D4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184374" y="3151388"/>
            <a:ext cx="732182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SzPct val="80000"/>
              <a:buFont typeface="Arial" panose="020B0604020202020204" pitchFamily="34" charset="0"/>
              <a:buNone/>
              <a:defRPr sz="2200"/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Description Here – 22 point Calibri Light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F4DB679A-C7D1-F34F-BAAE-626479BB6E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545" y="4038864"/>
            <a:ext cx="291481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ject Here</a:t>
            </a:r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F9EC11CE-F073-6F4B-9136-1386B23D285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84374" y="4078620"/>
            <a:ext cx="732182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SzPct val="80000"/>
              <a:buFont typeface="Arial" panose="020B0604020202020204" pitchFamily="34" charset="0"/>
              <a:buNone/>
              <a:defRPr sz="2200"/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Description Here – 22 point Calibri Light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39" name="Text Placeholder 25">
            <a:extLst>
              <a:ext uri="{FF2B5EF4-FFF2-40B4-BE49-F238E27FC236}">
                <a16:creationId xmlns:a16="http://schemas.microsoft.com/office/drawing/2014/main" id="{3B99CC2D-7E61-A44C-B451-C8E739A64E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4545" y="4987808"/>
            <a:ext cx="291481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26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ject Here</a:t>
            </a:r>
          </a:p>
        </p:txBody>
      </p:sp>
      <p:sp>
        <p:nvSpPr>
          <p:cNvPr id="40" name="Text Placeholder 25">
            <a:extLst>
              <a:ext uri="{FF2B5EF4-FFF2-40B4-BE49-F238E27FC236}">
                <a16:creationId xmlns:a16="http://schemas.microsoft.com/office/drawing/2014/main" id="{4950F388-344B-E541-8395-6CE90B08CE9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4374" y="5027564"/>
            <a:ext cx="7321826" cy="819783"/>
          </a:xfrm>
          <a:prstGeom prst="rect">
            <a:avLst/>
          </a:prstGeom>
        </p:spPr>
        <p:txBody>
          <a:bodyPr lIns="0" rIns="0" anchor="ctr"/>
          <a:lstStyle>
            <a:lvl1pPr marL="0" indent="0">
              <a:buSzPct val="80000"/>
              <a:buFont typeface="Arial" panose="020B0604020202020204" pitchFamily="34" charset="0"/>
              <a:buNone/>
              <a:defRPr sz="2200"/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Description Here – 22 point Calibri Light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0FE993A-9340-8848-9E0A-A8B87C0B3ACB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975442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CA298318-8278-3940-9D2A-66983C1CA9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4545" y="1426466"/>
            <a:ext cx="10831654" cy="54440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33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heading Here — 33 point Calibri Light</a:t>
            </a:r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D4723570-3DB5-A94F-9302-2C263210B6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4545" y="1970867"/>
            <a:ext cx="10831654" cy="1458133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20000"/>
              </a:lnSpc>
              <a:buSzPct val="80000"/>
              <a:buFontTx/>
              <a:buNone/>
              <a:defRPr sz="220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text Here –22 point Calibri Light. Lorem ipsum dolor sit </a:t>
            </a:r>
            <a:r>
              <a:rPr lang="en-US" dirty="0" err="1"/>
              <a:t>amet</a:t>
            </a:r>
            <a:r>
              <a:rPr lang="en-US" dirty="0"/>
              <a:t>, cons </a:t>
            </a:r>
            <a:r>
              <a:rPr lang="en-US" dirty="0" err="1"/>
              <a:t>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.</a:t>
            </a:r>
          </a:p>
        </p:txBody>
      </p:sp>
      <p:sp>
        <p:nvSpPr>
          <p:cNvPr id="21" name="Text Placeholder 25">
            <a:extLst>
              <a:ext uri="{FF2B5EF4-FFF2-40B4-BE49-F238E27FC236}">
                <a16:creationId xmlns:a16="http://schemas.microsoft.com/office/drawing/2014/main" id="{60B56673-0999-B54E-951F-C2C69169ADE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4545" y="3701200"/>
            <a:ext cx="10831654" cy="54440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330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heading Here — 33 point Calibri Light</a:t>
            </a:r>
          </a:p>
        </p:txBody>
      </p:sp>
      <p:sp>
        <p:nvSpPr>
          <p:cNvPr id="22" name="Text Placeholder 25">
            <a:extLst>
              <a:ext uri="{FF2B5EF4-FFF2-40B4-BE49-F238E27FC236}">
                <a16:creationId xmlns:a16="http://schemas.microsoft.com/office/drawing/2014/main" id="{249293D9-56EB-E142-8B00-2CB314D259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545" y="4245601"/>
            <a:ext cx="10831654" cy="1458133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20000"/>
              </a:lnSpc>
              <a:buSzPct val="80000"/>
              <a:buFontTx/>
              <a:buNone/>
              <a:defRPr sz="220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btext Here –22 point Calibri Light. Lorem ipsum dolor sit </a:t>
            </a:r>
            <a:r>
              <a:rPr lang="en-US" dirty="0" err="1"/>
              <a:t>amet</a:t>
            </a:r>
            <a:r>
              <a:rPr lang="en-US" dirty="0"/>
              <a:t>, cons </a:t>
            </a:r>
            <a:r>
              <a:rPr lang="en-US" dirty="0" err="1"/>
              <a:t>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016E5E5-F487-9141-A20F-6F2BB8DEF1BA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720130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625AA2A-8633-7C4B-9722-1F92CE847665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953642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Blank (band for photo overla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E88FAC-6115-F743-A235-D4D4C8A85031}"/>
              </a:ext>
            </a:extLst>
          </p:cNvPr>
          <p:cNvSpPr/>
          <p:nvPr userDrawn="1"/>
        </p:nvSpPr>
        <p:spPr>
          <a:xfrm>
            <a:off x="0" y="6785977"/>
            <a:ext cx="12192000" cy="10058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866029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625AA2A-8633-7C4B-9722-1F92CE847665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21037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3E88FAC-6115-F743-A235-D4D4C8A85031}"/>
              </a:ext>
            </a:extLst>
          </p:cNvPr>
          <p:cNvSpPr/>
          <p:nvPr userDrawn="1"/>
        </p:nvSpPr>
        <p:spPr>
          <a:xfrm>
            <a:off x="0" y="6785977"/>
            <a:ext cx="12192000" cy="10058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DCAA84-1AA5-8548-A3F4-EC7805B5E0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042416"/>
            <a:ext cx="12188952" cy="57607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5856E9-5534-E740-99DC-53A5538357FF}"/>
              </a:ext>
            </a:extLst>
          </p:cNvPr>
          <p:cNvSpPr txBox="1">
            <a:spLocks/>
          </p:cNvSpPr>
          <p:nvPr userDrawn="1"/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DDB60CE-C0A3-1D46-BF94-A54C2C865E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19AA460-361D-0440-8282-401570995592}"/>
              </a:ext>
            </a:extLst>
          </p:cNvPr>
          <p:cNvSpPr/>
          <p:nvPr userDrawn="1"/>
        </p:nvSpPr>
        <p:spPr>
          <a:xfrm>
            <a:off x="700193" y="1807027"/>
            <a:ext cx="3657600" cy="3657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ECD4C38-8436-B44D-BA50-ADFA6248F0CE}"/>
              </a:ext>
            </a:extLst>
          </p:cNvPr>
          <p:cNvCxnSpPr>
            <a:cxnSpLocks/>
          </p:cNvCxnSpPr>
          <p:nvPr userDrawn="1"/>
        </p:nvCxnSpPr>
        <p:spPr>
          <a:xfrm>
            <a:off x="1113754" y="4368749"/>
            <a:ext cx="281738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7BD72037-7A55-DC48-9E8A-6B241C4A758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21569" y="2201781"/>
            <a:ext cx="2809569" cy="2082527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3000" spc="-50" baseline="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Photo Caption – 30 </a:t>
            </a:r>
            <a:r>
              <a:rPr lang="en-US" dirty="0" err="1"/>
              <a:t>pt</a:t>
            </a:r>
            <a:r>
              <a:rPr lang="en-US" dirty="0"/>
              <a:t> Calibri Light </a:t>
            </a:r>
            <a:br>
              <a:rPr lang="en-US" dirty="0"/>
            </a:br>
            <a:r>
              <a:rPr lang="en-US" dirty="0"/>
              <a:t>Lorem ipsum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194C7BEC-DFD8-DA40-A49C-F9213A53F2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21569" y="4582013"/>
            <a:ext cx="2809569" cy="684639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4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pport Text – 14 </a:t>
            </a:r>
            <a:r>
              <a:rPr lang="en-US" dirty="0" err="1"/>
              <a:t>pt</a:t>
            </a:r>
            <a:r>
              <a:rPr lang="en-US" dirty="0"/>
              <a:t> Calibri Light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15819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GREEN">
    <p:bg bwMode="ltGray">
      <p:bgPr>
        <a:gradFill>
          <a:gsLst>
            <a:gs pos="0">
              <a:schemeClr val="accent1"/>
            </a:gs>
            <a:gs pos="100000">
              <a:schemeClr val="accent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37">
            <a:extLst>
              <a:ext uri="{FF2B5EF4-FFF2-40B4-BE49-F238E27FC236}">
                <a16:creationId xmlns:a16="http://schemas.microsoft.com/office/drawing/2014/main" id="{C3C3D34D-91E6-4296-AEAE-892B16A706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50933" y="3911600"/>
            <a:ext cx="11099658" cy="2304000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1" name="Textplatzhalter 37">
            <a:extLst>
              <a:ext uri="{FF2B5EF4-FFF2-40B4-BE49-F238E27FC236}">
                <a16:creationId xmlns:a16="http://schemas.microsoft.com/office/drawing/2014/main" id="{A2393841-F478-4EBA-82AD-E788E27D2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50933" y="426812"/>
            <a:ext cx="11099658" cy="1908175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600" b="1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2" name="Grafik 4">
            <a:extLst>
              <a:ext uri="{FF2B5EF4-FFF2-40B4-BE49-F238E27FC236}">
                <a16:creationId xmlns:a16="http://schemas.microsoft.com/office/drawing/2014/main" id="{99ECAC7C-B2D7-4BB8-9994-98316A51D388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0E632CC9-4476-4FFD-91B2-5BD0AA528FBA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1" name="Hilfslinie">
              <a:extLst>
                <a:ext uri="{FF2B5EF4-FFF2-40B4-BE49-F238E27FC236}">
                  <a16:creationId xmlns:a16="http://schemas.microsoft.com/office/drawing/2014/main" id="{18EBF350-E55E-4010-BC3E-BC9F80E1E491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3B9B9E66-A311-4FE1-84D3-27869F4E4B46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F0864769-AB51-483B-B5ED-4768C85E8A74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DA4987C4-C646-4807-AF67-B3279A1CDEAF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914CCEEF-DA97-42DA-828A-BC2D9ABD5EAA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88B618FD-F70C-49DF-9CD4-151AE2AECA93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310A949E-B281-46B2-BD79-637306D8BE1D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FEB8C4E0-5E77-460F-8057-657CBD04945D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4B15EC42-5406-469F-A115-07B294745832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8269233E-B4BF-4018-8421-6CF4AB888726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5A8DB374-1CFC-4458-BA85-276C688698A6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6F6BE297-3082-4B40-A049-1169243AB8BF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FC1013E8-EA0F-4288-B2B9-B8DE41C4DDC5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C3EEFE2E-24FD-48C3-8A24-9FE3760A7F7C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B180A112-2C16-4FCF-8120-DD876B9A4B9C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181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9992E-6 -0.03773 L -1.39992E-6 -2.96296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/>
    </p:bldLst>
  </p:timing>
  <p:hf sldNum="0"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3E88FAC-6115-F743-A235-D4D4C8A85031}"/>
              </a:ext>
            </a:extLst>
          </p:cNvPr>
          <p:cNvSpPr/>
          <p:nvPr userDrawn="1"/>
        </p:nvSpPr>
        <p:spPr>
          <a:xfrm>
            <a:off x="0" y="6785977"/>
            <a:ext cx="12192000" cy="10058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DCAA84-1AA5-8548-A3F4-EC7805B5E0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9046" y="1034178"/>
            <a:ext cx="6089906" cy="57607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CAA63A-6434-3B41-B13D-6FEED48746BC}"/>
              </a:ext>
            </a:extLst>
          </p:cNvPr>
          <p:cNvSpPr/>
          <p:nvPr userDrawn="1"/>
        </p:nvSpPr>
        <p:spPr>
          <a:xfrm>
            <a:off x="-2" y="1032015"/>
            <a:ext cx="6099048" cy="5760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6B76E211-8D10-7443-B5D2-0BAE84EA248B}"/>
              </a:ext>
            </a:extLst>
          </p:cNvPr>
          <p:cNvSpPr txBox="1">
            <a:spLocks/>
          </p:cNvSpPr>
          <p:nvPr userDrawn="1"/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372721D6-DD23-6F45-A65D-D523045749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5856E9-5534-E740-99DC-53A5538357FF}"/>
              </a:ext>
            </a:extLst>
          </p:cNvPr>
          <p:cNvSpPr txBox="1">
            <a:spLocks/>
          </p:cNvSpPr>
          <p:nvPr userDrawn="1"/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DDB60CE-C0A3-1D46-BF94-A54C2C865E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0BC9D6E-C9F0-654A-AE56-C2D5AAD4D220}"/>
              </a:ext>
            </a:extLst>
          </p:cNvPr>
          <p:cNvCxnSpPr>
            <a:cxnSpLocks/>
          </p:cNvCxnSpPr>
          <p:nvPr userDrawn="1"/>
        </p:nvCxnSpPr>
        <p:spPr>
          <a:xfrm>
            <a:off x="671538" y="4253134"/>
            <a:ext cx="430348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5">
            <a:extLst>
              <a:ext uri="{FF2B5EF4-FFF2-40B4-BE49-F238E27FC236}">
                <a16:creationId xmlns:a16="http://schemas.microsoft.com/office/drawing/2014/main" id="{8BD11FBD-AEFA-EB4D-AA6C-9CC43020D7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7350" y="1976683"/>
            <a:ext cx="4303485" cy="2082527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3000" spc="-50" baseline="0">
                <a:solidFill>
                  <a:schemeClr val="tx2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Photo Caption – 30 </a:t>
            </a:r>
            <a:r>
              <a:rPr lang="en-US" dirty="0" err="1"/>
              <a:t>pt</a:t>
            </a:r>
            <a:r>
              <a:rPr lang="en-US" dirty="0"/>
              <a:t> Calibri Light – Lorem ipsum dolor sit </a:t>
            </a:r>
            <a:r>
              <a:rPr lang="en-US" dirty="0" err="1"/>
              <a:t>amet</a:t>
            </a:r>
            <a:r>
              <a:rPr lang="en-US" dirty="0"/>
              <a:t>, cons </a:t>
            </a:r>
            <a:r>
              <a:rPr lang="en-US" dirty="0" err="1"/>
              <a:t>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endParaRPr lang="en-US" dirty="0"/>
          </a:p>
        </p:txBody>
      </p:sp>
      <p:sp>
        <p:nvSpPr>
          <p:cNvPr id="43" name="Text Placeholder 25">
            <a:extLst>
              <a:ext uri="{FF2B5EF4-FFF2-40B4-BE49-F238E27FC236}">
                <a16:creationId xmlns:a16="http://schemas.microsoft.com/office/drawing/2014/main" id="{3E3F8059-056A-F348-BCDF-0C18823A91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168" y="4497411"/>
            <a:ext cx="2890258" cy="684639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4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Insert Support Text – 14 </a:t>
            </a:r>
            <a:r>
              <a:rPr lang="en-US" dirty="0" err="1"/>
              <a:t>pt</a:t>
            </a:r>
            <a:r>
              <a:rPr lang="en-US" dirty="0"/>
              <a:t> Calibri Light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3850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3E88FAC-6115-F743-A235-D4D4C8A85031}"/>
              </a:ext>
            </a:extLst>
          </p:cNvPr>
          <p:cNvSpPr/>
          <p:nvPr userDrawn="1"/>
        </p:nvSpPr>
        <p:spPr>
          <a:xfrm>
            <a:off x="0" y="6785977"/>
            <a:ext cx="12192000" cy="10058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2DCAA84-1AA5-8548-A3F4-EC7805B5E02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9046" y="1034178"/>
            <a:ext cx="6089906" cy="57607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F5402C30-9D8B-1847-9A72-309D839799B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034178"/>
            <a:ext cx="6099048" cy="57607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6B76E211-8D10-7443-B5D2-0BAE84EA248B}"/>
              </a:ext>
            </a:extLst>
          </p:cNvPr>
          <p:cNvSpPr txBox="1">
            <a:spLocks/>
          </p:cNvSpPr>
          <p:nvPr userDrawn="1"/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372721D6-DD23-6F45-A65D-D523045749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4D5856E9-5534-E740-99DC-53A5538357FF}"/>
              </a:ext>
            </a:extLst>
          </p:cNvPr>
          <p:cNvSpPr txBox="1">
            <a:spLocks/>
          </p:cNvSpPr>
          <p:nvPr userDrawn="1"/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DDB60CE-C0A3-1D46-BF94-A54C2C865E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52227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31A4DD3-0679-D844-ABD1-D1BBBA28D48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64084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95B0870B-FB71-104C-892F-0BA11F40F8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83133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6FE7E082-70DB-B946-B892-5DC6A943994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3944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F9EB7E3F-C525-8E46-B62E-8AFD9B1130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3483" y="1042416"/>
            <a:ext cx="2924868" cy="3838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625AA2A-8633-7C4B-9722-1F92CE847665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265786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31A4DD3-0679-D844-ABD1-D1BBBA28D48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63700" y="1441621"/>
            <a:ext cx="3337560" cy="1911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733D1A42-545F-9F4C-821D-673F51DFFC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71937" y="3385751"/>
            <a:ext cx="3319844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0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0 Point Calibri Light</a:t>
            </a:r>
          </a:p>
        </p:txBody>
      </p:sp>
      <p:sp>
        <p:nvSpPr>
          <p:cNvPr id="46" name="Text Placeholder 25">
            <a:extLst>
              <a:ext uri="{FF2B5EF4-FFF2-40B4-BE49-F238E27FC236}">
                <a16:creationId xmlns:a16="http://schemas.microsoft.com/office/drawing/2014/main" id="{B3FE737E-82EE-1F47-940E-3D93F1D54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31957" y="3385751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0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0 Point Calibri Light</a:t>
            </a:r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C9CBB532-F7A7-E94E-BE1D-F017A954F2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431959" y="1441621"/>
            <a:ext cx="3337560" cy="1911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45351700-FA04-E44A-B555-135DF8E85D3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1981" y="1441621"/>
            <a:ext cx="3337560" cy="1911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3417ED1-225A-2F46-A9B3-3D9D69736A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0217" y="3385751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0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0 Point Calibri Ligh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625AA2A-8633-7C4B-9722-1F92CE847665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Picture Placeholder 2">
            <a:extLst>
              <a:ext uri="{FF2B5EF4-FFF2-40B4-BE49-F238E27FC236}">
                <a16:creationId xmlns:a16="http://schemas.microsoft.com/office/drawing/2014/main" id="{4EA9BED3-2A87-1242-AFA0-0DC0130B9C1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63700" y="3748215"/>
            <a:ext cx="3337560" cy="1911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51" name="Text Placeholder 25">
            <a:extLst>
              <a:ext uri="{FF2B5EF4-FFF2-40B4-BE49-F238E27FC236}">
                <a16:creationId xmlns:a16="http://schemas.microsoft.com/office/drawing/2014/main" id="{652CB632-18BB-AB48-8584-5DB81180D2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937" y="5692345"/>
            <a:ext cx="3319844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0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0 Point Calibri Light</a:t>
            </a:r>
          </a:p>
        </p:txBody>
      </p:sp>
      <p:sp>
        <p:nvSpPr>
          <p:cNvPr id="52" name="Text Placeholder 25">
            <a:extLst>
              <a:ext uri="{FF2B5EF4-FFF2-40B4-BE49-F238E27FC236}">
                <a16:creationId xmlns:a16="http://schemas.microsoft.com/office/drawing/2014/main" id="{EBEFCCAD-55B2-AD43-A759-543197C12F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31957" y="5692345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0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0 Point Calibri Light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F0020AEF-8EC2-7949-9BB7-F970890B7D8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431959" y="3748215"/>
            <a:ext cx="3337560" cy="1911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E8BF4DEC-2B3A-4B40-B570-9EF1D39100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91981" y="3748215"/>
            <a:ext cx="3337560" cy="19110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55" name="Text Placeholder 25">
            <a:extLst>
              <a:ext uri="{FF2B5EF4-FFF2-40B4-BE49-F238E27FC236}">
                <a16:creationId xmlns:a16="http://schemas.microsoft.com/office/drawing/2014/main" id="{B5E02C6F-0C17-8849-A2ED-0F5FBA90B8C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0217" y="5692345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000" spc="0" baseline="0">
                <a:solidFill>
                  <a:schemeClr val="tx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0 Point Calibri Light</a:t>
            </a:r>
          </a:p>
        </p:txBody>
      </p:sp>
    </p:spTree>
    <p:extLst>
      <p:ext uri="{BB962C8B-B14F-4D97-AF65-F5344CB8AC3E}">
        <p14:creationId xmlns:p14="http://schemas.microsoft.com/office/powerpoint/2010/main" val="1454021177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31A4DD3-0679-D844-ABD1-D1BBBA28D48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11312" y="1051560"/>
            <a:ext cx="3977639" cy="23408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47" name="Picture Placeholder 2">
            <a:extLst>
              <a:ext uri="{FF2B5EF4-FFF2-40B4-BE49-F238E27FC236}">
                <a16:creationId xmlns:a16="http://schemas.microsoft.com/office/drawing/2014/main" id="{C9CBB532-F7A7-E94E-BE1D-F017A954F2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105656" y="1051560"/>
            <a:ext cx="3977639" cy="23408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45351700-FA04-E44A-B555-135DF8E85D3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32" y="1053247"/>
            <a:ext cx="3977639" cy="23408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74" name="Picture Placeholder 2">
            <a:extLst>
              <a:ext uri="{FF2B5EF4-FFF2-40B4-BE49-F238E27FC236}">
                <a16:creationId xmlns:a16="http://schemas.microsoft.com/office/drawing/2014/main" id="{CDB67241-A036-904F-985F-666B47B1DAC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11312" y="3498198"/>
            <a:ext cx="3977639" cy="23408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75" name="Picture Placeholder 2">
            <a:extLst>
              <a:ext uri="{FF2B5EF4-FFF2-40B4-BE49-F238E27FC236}">
                <a16:creationId xmlns:a16="http://schemas.microsoft.com/office/drawing/2014/main" id="{68C0A5D4-171E-B244-91A1-6BFC5BF8361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105656" y="3498198"/>
            <a:ext cx="3977639" cy="23408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76" name="Picture Placeholder 2">
            <a:extLst>
              <a:ext uri="{FF2B5EF4-FFF2-40B4-BE49-F238E27FC236}">
                <a16:creationId xmlns:a16="http://schemas.microsoft.com/office/drawing/2014/main" id="{65E2D23F-A8A4-8B4F-8704-7B0F9BE6786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32" y="3499885"/>
            <a:ext cx="3977639" cy="23408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A89AD25-D487-0444-821E-1A152326C6E5}"/>
              </a:ext>
            </a:extLst>
          </p:cNvPr>
          <p:cNvSpPr/>
          <p:nvPr userDrawn="1"/>
        </p:nvSpPr>
        <p:spPr>
          <a:xfrm>
            <a:off x="0" y="2899719"/>
            <a:ext cx="3978876" cy="481173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E7E71A3B-23A6-7E49-A504-75BC1AD354B5}"/>
              </a:ext>
            </a:extLst>
          </p:cNvPr>
          <p:cNvSpPr/>
          <p:nvPr userDrawn="1"/>
        </p:nvSpPr>
        <p:spPr>
          <a:xfrm>
            <a:off x="4105656" y="2899719"/>
            <a:ext cx="3978876" cy="481173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916E5FBA-37CB-0D4A-AE90-B1EA8CF12289}"/>
              </a:ext>
            </a:extLst>
          </p:cNvPr>
          <p:cNvSpPr/>
          <p:nvPr userDrawn="1"/>
        </p:nvSpPr>
        <p:spPr>
          <a:xfrm>
            <a:off x="8213124" y="2899719"/>
            <a:ext cx="3978876" cy="481173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A257CC1-50EE-1E44-8A74-99E4CADDA41F}"/>
              </a:ext>
            </a:extLst>
          </p:cNvPr>
          <p:cNvSpPr/>
          <p:nvPr userDrawn="1"/>
        </p:nvSpPr>
        <p:spPr>
          <a:xfrm>
            <a:off x="0" y="5354595"/>
            <a:ext cx="3978876" cy="481173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E473AE6C-3108-2D4A-9428-15032860224D}"/>
              </a:ext>
            </a:extLst>
          </p:cNvPr>
          <p:cNvSpPr/>
          <p:nvPr userDrawn="1"/>
        </p:nvSpPr>
        <p:spPr>
          <a:xfrm>
            <a:off x="4102443" y="5354595"/>
            <a:ext cx="3978876" cy="481173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F14C072-CF2B-344F-A871-732950B21A9B}"/>
              </a:ext>
            </a:extLst>
          </p:cNvPr>
          <p:cNvSpPr/>
          <p:nvPr userDrawn="1"/>
        </p:nvSpPr>
        <p:spPr>
          <a:xfrm>
            <a:off x="8213124" y="5354595"/>
            <a:ext cx="3978876" cy="481173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33417ED1-225A-2F46-A9B3-3D9D69736A10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387178" y="3014665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100" spc="0" baseline="0">
                <a:solidFill>
                  <a:schemeClr val="bg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1 Point Calibri Ligh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589D2A5-3266-0E4C-AC6D-B66D8AC733ED}"/>
              </a:ext>
            </a:extLst>
          </p:cNvPr>
          <p:cNvSpPr/>
          <p:nvPr userDrawn="1"/>
        </p:nvSpPr>
        <p:spPr>
          <a:xfrm>
            <a:off x="0" y="0"/>
            <a:ext cx="12192000" cy="1041400"/>
          </a:xfrm>
          <a:prstGeom prst="rect">
            <a:avLst/>
          </a:prstGeom>
          <a:solidFill>
            <a:srgbClr val="007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A493D40-8990-B54C-8301-B9F3FC8484D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60399" y="201821"/>
            <a:ext cx="10879667" cy="71257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900" cap="all" spc="-10" baseline="0"/>
            </a:lvl1pPr>
          </a:lstStyle>
          <a:p>
            <a:r>
              <a:rPr lang="en-US" dirty="0"/>
              <a:t>INSERT HEADLINE HERE – 29 POINT CALIBRI LIGHT ALL CAPS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2C7311F-6AB1-B747-8667-324A40FEBD82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026194" y="6477049"/>
            <a:ext cx="480006" cy="13812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05905AC6-4EE6-4484-869F-02F65C0C87D4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CEBAB71-563F-2944-BD42-15FFEA2135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89" y="6072998"/>
            <a:ext cx="519055" cy="51905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625AA2A-8633-7C4B-9722-1F92CE847665}"/>
              </a:ext>
            </a:extLst>
          </p:cNvPr>
          <p:cNvSpPr/>
          <p:nvPr userDrawn="1"/>
        </p:nvSpPr>
        <p:spPr>
          <a:xfrm>
            <a:off x="4232" y="6814624"/>
            <a:ext cx="12192000" cy="54864"/>
          </a:xfrm>
          <a:prstGeom prst="rect">
            <a:avLst/>
          </a:prstGeom>
          <a:gradFill flip="none" rotWithShape="1">
            <a:gsLst>
              <a:gs pos="0">
                <a:srgbClr val="0066EE"/>
              </a:gs>
              <a:gs pos="30000">
                <a:srgbClr val="00A0FF"/>
              </a:gs>
              <a:gs pos="70000">
                <a:srgbClr val="00C6FF"/>
              </a:gs>
              <a:gs pos="100000">
                <a:srgbClr val="00DDFF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Text Placeholder 25">
            <a:extLst>
              <a:ext uri="{FF2B5EF4-FFF2-40B4-BE49-F238E27FC236}">
                <a16:creationId xmlns:a16="http://schemas.microsoft.com/office/drawing/2014/main" id="{C54267FA-AAAD-CF40-B40D-6BAEB12D95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7178" y="5477778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100" spc="0" baseline="0">
                <a:solidFill>
                  <a:schemeClr val="bg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1 Point Calibri Light</a:t>
            </a:r>
          </a:p>
        </p:txBody>
      </p:sp>
      <p:sp>
        <p:nvSpPr>
          <p:cNvPr id="79" name="Text Placeholder 25">
            <a:extLst>
              <a:ext uri="{FF2B5EF4-FFF2-40B4-BE49-F238E27FC236}">
                <a16:creationId xmlns:a16="http://schemas.microsoft.com/office/drawing/2014/main" id="{C747F48A-616F-2F45-8D04-5D777D0F2D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89621" y="3014665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100" spc="0" baseline="0">
                <a:solidFill>
                  <a:schemeClr val="bg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1 Point Calibri Light</a:t>
            </a:r>
          </a:p>
        </p:txBody>
      </p:sp>
      <p:sp>
        <p:nvSpPr>
          <p:cNvPr id="80" name="Text Placeholder 25">
            <a:extLst>
              <a:ext uri="{FF2B5EF4-FFF2-40B4-BE49-F238E27FC236}">
                <a16:creationId xmlns:a16="http://schemas.microsoft.com/office/drawing/2014/main" id="{B9F13E0C-D401-0F41-9E42-C0F1FF78462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89621" y="5477778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100" spc="0" baseline="0">
                <a:solidFill>
                  <a:schemeClr val="bg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1 Point Calibri Light</a:t>
            </a:r>
          </a:p>
        </p:txBody>
      </p:sp>
      <p:sp>
        <p:nvSpPr>
          <p:cNvPr id="82" name="Text Placeholder 25">
            <a:extLst>
              <a:ext uri="{FF2B5EF4-FFF2-40B4-BE49-F238E27FC236}">
                <a16:creationId xmlns:a16="http://schemas.microsoft.com/office/drawing/2014/main" id="{F1093DA3-86CD-9748-91A7-86C2CB1702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92065" y="3014665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100" spc="0" baseline="0">
                <a:solidFill>
                  <a:schemeClr val="bg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1 Point Calibri Light</a:t>
            </a:r>
          </a:p>
        </p:txBody>
      </p:sp>
      <p:sp>
        <p:nvSpPr>
          <p:cNvPr id="83" name="Text Placeholder 25">
            <a:extLst>
              <a:ext uri="{FF2B5EF4-FFF2-40B4-BE49-F238E27FC236}">
                <a16:creationId xmlns:a16="http://schemas.microsoft.com/office/drawing/2014/main" id="{F92A56F6-FE39-1E45-8429-1E2295B89DB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2065" y="5477778"/>
            <a:ext cx="3336319" cy="24893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SzPct val="80000"/>
              <a:buFontTx/>
              <a:buNone/>
              <a:defRPr sz="1100" spc="0" baseline="0">
                <a:solidFill>
                  <a:schemeClr val="bg1"/>
                </a:solidFill>
              </a:defRPr>
            </a:lvl1pPr>
            <a:lvl2pPr marL="548640" indent="-274320">
              <a:buSzPct val="80000"/>
              <a:buFont typeface="Arial" panose="020B0604020202020204" pitchFamily="34" charset="0"/>
              <a:buChar char="•"/>
              <a:defRPr/>
            </a:lvl2pPr>
            <a:lvl3pPr marL="822960" indent="-274320">
              <a:buSzPct val="80000"/>
              <a:buFont typeface="Arial" panose="020B0604020202020204" pitchFamily="34" charset="0"/>
              <a:buChar char="•"/>
              <a:defRPr/>
            </a:lvl3pPr>
            <a:lvl4pPr marL="1097280" indent="-274320">
              <a:buSzPct val="80000"/>
              <a:buFont typeface="Arial" panose="020B0604020202020204" pitchFamily="34" charset="0"/>
              <a:buChar char="•"/>
              <a:defRPr/>
            </a:lvl4pPr>
            <a:lvl5pPr marL="1371600" indent="-274320">
              <a:buSzPct val="8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Short Caption 11 Point Calibri Light</a:t>
            </a:r>
          </a:p>
        </p:txBody>
      </p:sp>
    </p:spTree>
    <p:extLst>
      <p:ext uri="{BB962C8B-B14F-4D97-AF65-F5344CB8AC3E}">
        <p14:creationId xmlns:p14="http://schemas.microsoft.com/office/powerpoint/2010/main" val="3648472242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572000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GRAY">
    <p:bg bwMode="ltGray">
      <p:bgPr>
        <a:gradFill>
          <a:gsLst>
            <a:gs pos="0">
              <a:schemeClr val="bg2">
                <a:lumMod val="75000"/>
              </a:schemeClr>
            </a:gs>
            <a:gs pos="100000">
              <a:schemeClr val="tx1">
                <a:lumMod val="50000"/>
                <a:lumOff val="50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platzhalter 37">
            <a:extLst>
              <a:ext uri="{FF2B5EF4-FFF2-40B4-BE49-F238E27FC236}">
                <a16:creationId xmlns:a16="http://schemas.microsoft.com/office/drawing/2014/main" id="{C3C3D34D-91E6-4296-AEAE-892B16A706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550933" y="3911600"/>
            <a:ext cx="11099658" cy="2304000"/>
          </a:xfrm>
        </p:spPr>
        <p:txBody>
          <a:bodyPr tIns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name.</a:t>
            </a:r>
          </a:p>
        </p:txBody>
      </p:sp>
      <p:sp>
        <p:nvSpPr>
          <p:cNvPr id="31" name="Textplatzhalter 37">
            <a:extLst>
              <a:ext uri="{FF2B5EF4-FFF2-40B4-BE49-F238E27FC236}">
                <a16:creationId xmlns:a16="http://schemas.microsoft.com/office/drawing/2014/main" id="{A2393841-F478-4EBA-82AD-E788E27D2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ltGray">
          <a:xfrm>
            <a:off x="550933" y="426812"/>
            <a:ext cx="11099658" cy="1908175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6600" b="1">
                <a:solidFill>
                  <a:schemeClr val="bg1">
                    <a:alpha val="40000"/>
                  </a:schemeClr>
                </a:solidFill>
              </a:defRPr>
            </a:lvl1pPr>
          </a:lstStyle>
          <a:p>
            <a:pPr lvl="0"/>
            <a:r>
              <a:rPr lang="en-US" noProof="0"/>
              <a:t>XX</a:t>
            </a:r>
          </a:p>
        </p:txBody>
      </p:sp>
      <p:sp>
        <p:nvSpPr>
          <p:cNvPr id="32" name="Grafik 4">
            <a:extLst>
              <a:ext uri="{FF2B5EF4-FFF2-40B4-BE49-F238E27FC236}">
                <a16:creationId xmlns:a16="http://schemas.microsoft.com/office/drawing/2014/main" id="{99ECAC7C-B2D7-4BB8-9994-98316A51D388}"/>
              </a:ext>
            </a:extLst>
          </p:cNvPr>
          <p:cNvSpPr>
            <a:spLocks noChangeAspect="1"/>
          </p:cNvSpPr>
          <p:nvPr userDrawn="1"/>
        </p:nvSpPr>
        <p:spPr bwMode="lt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/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8BCF0967-3A26-4828-9EAF-6BCE97B649EA}"/>
              </a:ext>
            </a:extLst>
          </p:cNvPr>
          <p:cNvGrpSpPr>
            <a:grpSpLocks noChangeAspect="1"/>
          </p:cNvGrpSpPr>
          <p:nvPr userDrawn="1"/>
        </p:nvGrpSpPr>
        <p:grpSpPr bwMode="lt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41" name="Hilfslinie">
              <a:extLst>
                <a:ext uri="{FF2B5EF4-FFF2-40B4-BE49-F238E27FC236}">
                  <a16:creationId xmlns:a16="http://schemas.microsoft.com/office/drawing/2014/main" id="{50A88B8C-2DA2-4F02-9D10-157C0580E9C1}"/>
                </a:ext>
              </a:extLst>
            </p:cNvPr>
            <p:cNvGrpSpPr/>
            <p:nvPr userDrawn="1"/>
          </p:nvGrpSpPr>
          <p:grpSpPr bwMode="lt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4" name="Line">
                <a:extLst>
                  <a:ext uri="{FF2B5EF4-FFF2-40B4-BE49-F238E27FC236}">
                    <a16:creationId xmlns:a16="http://schemas.microsoft.com/office/drawing/2014/main" id="{2E8D5705-585C-4233-97DB-333A80BC542B}"/>
                  </a:ext>
                </a:extLst>
              </p:cNvPr>
              <p:cNvCxnSpPr/>
              <p:nvPr userDrawn="1"/>
            </p:nvCxnSpPr>
            <p:spPr bwMode="lt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Text">
                <a:extLst>
                  <a:ext uri="{FF2B5EF4-FFF2-40B4-BE49-F238E27FC236}">
                    <a16:creationId xmlns:a16="http://schemas.microsoft.com/office/drawing/2014/main" id="{E17B7581-9569-4B56-9537-217C759AC600}"/>
                  </a:ext>
                </a:extLst>
              </p:cNvPr>
              <p:cNvSpPr txBox="1"/>
              <p:nvPr userDrawn="1"/>
            </p:nvSpPr>
            <p:spPr bwMode="lt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2" name="Hilfslinie">
              <a:extLst>
                <a:ext uri="{FF2B5EF4-FFF2-40B4-BE49-F238E27FC236}">
                  <a16:creationId xmlns:a16="http://schemas.microsoft.com/office/drawing/2014/main" id="{15CA9C57-734F-4379-9F30-925253A82C53}"/>
                </a:ext>
              </a:extLst>
            </p:cNvPr>
            <p:cNvGrpSpPr/>
            <p:nvPr userDrawn="1"/>
          </p:nvGrpSpPr>
          <p:grpSpPr bwMode="lt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2" name="Line">
                <a:extLst>
                  <a:ext uri="{FF2B5EF4-FFF2-40B4-BE49-F238E27FC236}">
                    <a16:creationId xmlns:a16="http://schemas.microsoft.com/office/drawing/2014/main" id="{BDE5FE5E-72E6-4649-A80D-28AB37338227}"/>
                  </a:ext>
                </a:extLst>
              </p:cNvPr>
              <p:cNvCxnSpPr/>
              <p:nvPr userDrawn="1"/>
            </p:nvCxnSpPr>
            <p:spPr bwMode="lt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Text">
                <a:extLst>
                  <a:ext uri="{FF2B5EF4-FFF2-40B4-BE49-F238E27FC236}">
                    <a16:creationId xmlns:a16="http://schemas.microsoft.com/office/drawing/2014/main" id="{66BC1170-B7B6-4BD8-B626-A15E8A3FD8DD}"/>
                  </a:ext>
                </a:extLst>
              </p:cNvPr>
              <p:cNvSpPr txBox="1"/>
              <p:nvPr userDrawn="1"/>
            </p:nvSpPr>
            <p:spPr bwMode="lt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3" name="Hilfslinie">
              <a:extLst>
                <a:ext uri="{FF2B5EF4-FFF2-40B4-BE49-F238E27FC236}">
                  <a16:creationId xmlns:a16="http://schemas.microsoft.com/office/drawing/2014/main" id="{C26FA4CA-835D-458A-9945-96D4E0F67B66}"/>
                </a:ext>
              </a:extLst>
            </p:cNvPr>
            <p:cNvGrpSpPr/>
            <p:nvPr userDrawn="1"/>
          </p:nvGrpSpPr>
          <p:grpSpPr bwMode="lt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0" name="Line">
                <a:extLst>
                  <a:ext uri="{FF2B5EF4-FFF2-40B4-BE49-F238E27FC236}">
                    <a16:creationId xmlns:a16="http://schemas.microsoft.com/office/drawing/2014/main" id="{858249B6-308F-4911-969B-50028B29AD72}"/>
                  </a:ext>
                </a:extLst>
              </p:cNvPr>
              <p:cNvCxnSpPr/>
              <p:nvPr/>
            </p:nvCxnSpPr>
            <p:spPr bwMode="lt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Text">
                <a:extLst>
                  <a:ext uri="{FF2B5EF4-FFF2-40B4-BE49-F238E27FC236}">
                    <a16:creationId xmlns:a16="http://schemas.microsoft.com/office/drawing/2014/main" id="{F59E0BD7-526E-418D-9512-2EB9B135C0EA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1A6403F5-3510-418C-9383-745E6CB38D5A}"/>
                </a:ext>
              </a:extLst>
            </p:cNvPr>
            <p:cNvGrpSpPr/>
            <p:nvPr userDrawn="1"/>
          </p:nvGrpSpPr>
          <p:grpSpPr bwMode="lt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8" name="Line">
                <a:extLst>
                  <a:ext uri="{FF2B5EF4-FFF2-40B4-BE49-F238E27FC236}">
                    <a16:creationId xmlns:a16="http://schemas.microsoft.com/office/drawing/2014/main" id="{F60A8608-C01E-40E3-BC98-1EB90EE0146A}"/>
                  </a:ext>
                </a:extLst>
              </p:cNvPr>
              <p:cNvCxnSpPr/>
              <p:nvPr userDrawn="1"/>
            </p:nvCxnSpPr>
            <p:spPr bwMode="lt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9" name="Text">
                <a:extLst>
                  <a:ext uri="{FF2B5EF4-FFF2-40B4-BE49-F238E27FC236}">
                    <a16:creationId xmlns:a16="http://schemas.microsoft.com/office/drawing/2014/main" id="{21BEA0D4-2DD8-4CF1-94C1-FFEDF881AF0B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82E6F322-104C-42B0-9289-9858178A01B7}"/>
                </a:ext>
              </a:extLst>
            </p:cNvPr>
            <p:cNvGrpSpPr/>
            <p:nvPr userDrawn="1"/>
          </p:nvGrpSpPr>
          <p:grpSpPr bwMode="lt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6" name="Line">
                <a:extLst>
                  <a:ext uri="{FF2B5EF4-FFF2-40B4-BE49-F238E27FC236}">
                    <a16:creationId xmlns:a16="http://schemas.microsoft.com/office/drawing/2014/main" id="{2A9B0CAE-0858-4236-956D-7975DA308A25}"/>
                  </a:ext>
                </a:extLst>
              </p:cNvPr>
              <p:cNvCxnSpPr/>
              <p:nvPr userDrawn="1"/>
            </p:nvCxnSpPr>
            <p:spPr bwMode="lt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Text">
                <a:extLst>
                  <a:ext uri="{FF2B5EF4-FFF2-40B4-BE49-F238E27FC236}">
                    <a16:creationId xmlns:a16="http://schemas.microsoft.com/office/drawing/2014/main" id="{C2FBC5A5-D10D-4E11-A509-6B324015D941}"/>
                  </a:ext>
                </a:extLst>
              </p:cNvPr>
              <p:cNvSpPr txBox="1"/>
              <p:nvPr userDrawn="1"/>
            </p:nvSpPr>
            <p:spPr bwMode="lt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4990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39992E-6 -0.03773 L -1.39992E-6 -2.96296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87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>
        <p:tmplLst>
          <p:tmpl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1"/>
    </p:bldLst>
  </p:timing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882" y="2082700"/>
            <a:ext cx="11110237" cy="4140000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540882" y="6451895"/>
            <a:ext cx="288037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b="1">
                <a:solidFill>
                  <a:schemeClr val="accent6"/>
                </a:solidFill>
                <a:effectLst/>
                <a:latin typeface="+mj-lt"/>
              </a:defRPr>
            </a:lvl1pPr>
          </a:lstStyle>
          <a:p>
            <a:fld id="{02CEFE82-39F2-4F47-8A0C-D5AB3496FA5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8" name="Titelplatzhalter 7">
            <a:extLst>
              <a:ext uri="{FF2B5EF4-FFF2-40B4-BE49-F238E27FC236}">
                <a16:creationId xmlns:a16="http://schemas.microsoft.com/office/drawing/2014/main" id="{70881CB1-5926-472A-8574-E4B3B37AFAD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883" y="441625"/>
            <a:ext cx="11110235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6F017570-7BA7-41A8-BADF-E3DEFE0258E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8CCAF7-5A76-49A0-AA2D-1E88BF400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16344" y="6451895"/>
            <a:ext cx="411374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US" noProof="0"/>
              <a:t>7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06F6DD1-6F2B-4BC7-8D94-D16ACE49058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6" name="Hilfslinie">
              <a:extLst>
                <a:ext uri="{FF2B5EF4-FFF2-40B4-BE49-F238E27FC236}">
                  <a16:creationId xmlns:a16="http://schemas.microsoft.com/office/drawing/2014/main" id="{4D39D6D3-4146-4525-9CC2-AE6CAFD2E1F3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193782E1-2CEA-425B-AA9E-BC651519B518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43EAF8DA-A84A-43BD-9D02-E83539566F7B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FE26AEA3-5451-4AE0-B65B-17AE3581E746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E80B6D82-C6CA-4185-B301-4076AE76D2F1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D35329AE-DDB3-4F4A-AE78-7D9995A6C997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15,43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E8E096F4-A893-403A-8EBF-DD3F8CE42784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1" name="Line">
                <a:extLst>
                  <a:ext uri="{FF2B5EF4-FFF2-40B4-BE49-F238E27FC236}">
                    <a16:creationId xmlns:a16="http://schemas.microsoft.com/office/drawing/2014/main" id="{BE1DF758-A406-4B9E-87E2-D7E7DF93F3A2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">
                <a:extLst>
                  <a:ext uri="{FF2B5EF4-FFF2-40B4-BE49-F238E27FC236}">
                    <a16:creationId xmlns:a16="http://schemas.microsoft.com/office/drawing/2014/main" id="{AB2697FE-92B5-4599-8EA3-2F8314D21354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 line</a:t>
                </a:r>
                <a:br>
                  <a:rPr lang="en-US" sz="1200" noProof="0"/>
                </a:br>
                <a:r>
                  <a:rPr lang="en-US" sz="1200" noProof="0"/>
                  <a:t>8,32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34605866-BDFE-4F2A-B6C1-6DDF8CF0F7FF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9" name="Line">
                <a:extLst>
                  <a:ext uri="{FF2B5EF4-FFF2-40B4-BE49-F238E27FC236}">
                    <a16:creationId xmlns:a16="http://schemas.microsoft.com/office/drawing/2014/main" id="{42123C13-5C53-4FD9-B97F-29A35DA70851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">
                <a:extLst>
                  <a:ext uri="{FF2B5EF4-FFF2-40B4-BE49-F238E27FC236}">
                    <a16:creationId xmlns:a16="http://schemas.microsoft.com/office/drawing/2014/main" id="{46B1E67E-5299-412A-A2C2-2538EAE1E17C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3,74</a:t>
                </a:r>
              </a:p>
            </p:txBody>
          </p:sp>
        </p:grpSp>
        <p:grpSp>
          <p:nvGrpSpPr>
            <p:cNvPr id="46" name="Hilfslinie">
              <a:extLst>
                <a:ext uri="{FF2B5EF4-FFF2-40B4-BE49-F238E27FC236}">
                  <a16:creationId xmlns:a16="http://schemas.microsoft.com/office/drawing/2014/main" id="{3B8B81BC-BE03-4FD0-B85C-5543E6AAE8A5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7" name="Line">
                <a:extLst>
                  <a:ext uri="{FF2B5EF4-FFF2-40B4-BE49-F238E27FC236}">
                    <a16:creationId xmlns:a16="http://schemas.microsoft.com/office/drawing/2014/main" id="{8219A9F7-9D94-4E63-B07E-B39CDCCBB1A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">
                <a:extLst>
                  <a:ext uri="{FF2B5EF4-FFF2-40B4-BE49-F238E27FC236}">
                    <a16:creationId xmlns:a16="http://schemas.microsoft.com/office/drawing/2014/main" id="{3CB2EF17-FBA7-45D5-9741-2B21826416DF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/>
                  <a:t>Position Auxiliary</a:t>
                </a:r>
                <a:br>
                  <a:rPr lang="en-US" sz="1200" noProof="0"/>
                </a:br>
                <a:r>
                  <a:rPr lang="en-US" sz="1200" noProof="0"/>
                  <a:t>line</a:t>
                </a:r>
                <a:br>
                  <a:rPr lang="en-US" sz="1200" noProof="0"/>
                </a:br>
                <a:r>
                  <a:rPr lang="en-US" sz="1200" noProof="0"/>
                  <a:t>7,76</a:t>
                </a:r>
              </a:p>
            </p:txBody>
          </p:sp>
        </p:grpSp>
      </p:grpSp>
      <p:sp>
        <p:nvSpPr>
          <p:cNvPr id="5" name="Grafik 32">
            <a:extLst>
              <a:ext uri="{FF2B5EF4-FFF2-40B4-BE49-F238E27FC236}">
                <a16:creationId xmlns:a16="http://schemas.microsoft.com/office/drawing/2014/main" id="{78F6F205-8FCA-0EA4-F255-63024EBB3212}"/>
              </a:ext>
            </a:extLst>
          </p:cNvPr>
          <p:cNvSpPr>
            <a:spLocks noChangeAspect="1"/>
          </p:cNvSpPr>
          <p:nvPr userDrawn="1"/>
        </p:nvSpPr>
        <p:spPr>
          <a:xfrm>
            <a:off x="10751119" y="6450302"/>
            <a:ext cx="900000" cy="188314"/>
          </a:xfrm>
          <a:custGeom>
            <a:avLst/>
            <a:gdLst>
              <a:gd name="connsiteX0" fmla="*/ 924115 w 6105905"/>
              <a:gd name="connsiteY0" fmla="*/ 1006602 h 1277588"/>
              <a:gd name="connsiteX1" fmla="*/ 132779 w 6105905"/>
              <a:gd name="connsiteY1" fmla="*/ 0 h 1277588"/>
              <a:gd name="connsiteX2" fmla="*/ 0 w 6105905"/>
              <a:gd name="connsiteY2" fmla="*/ 0 h 1277588"/>
              <a:gd name="connsiteX3" fmla="*/ 0 w 6105905"/>
              <a:gd name="connsiteY3" fmla="*/ 1256062 h 1277588"/>
              <a:gd name="connsiteX4" fmla="*/ 138208 w 6105905"/>
              <a:gd name="connsiteY4" fmla="*/ 1256062 h 1277588"/>
              <a:gd name="connsiteX5" fmla="*/ 138208 w 6105905"/>
              <a:gd name="connsiteY5" fmla="*/ 226124 h 1277588"/>
              <a:gd name="connsiteX6" fmla="*/ 949262 w 6105905"/>
              <a:gd name="connsiteY6" fmla="*/ 1256062 h 1277588"/>
              <a:gd name="connsiteX7" fmla="*/ 1062323 w 6105905"/>
              <a:gd name="connsiteY7" fmla="*/ 1256062 h 1277588"/>
              <a:gd name="connsiteX8" fmla="*/ 1062323 w 6105905"/>
              <a:gd name="connsiteY8" fmla="*/ 0 h 1277588"/>
              <a:gd name="connsiteX9" fmla="*/ 924115 w 6105905"/>
              <a:gd name="connsiteY9" fmla="*/ 0 h 1277588"/>
              <a:gd name="connsiteX10" fmla="*/ 924115 w 6105905"/>
              <a:gd name="connsiteY10" fmla="*/ 1006602 h 1277588"/>
              <a:gd name="connsiteX11" fmla="*/ 1785366 w 6105905"/>
              <a:gd name="connsiteY11" fmla="*/ 308610 h 1277588"/>
              <a:gd name="connsiteX12" fmla="*/ 1300925 w 6105905"/>
              <a:gd name="connsiteY12" fmla="*/ 794861 h 1277588"/>
              <a:gd name="connsiteX13" fmla="*/ 1781842 w 6105905"/>
              <a:gd name="connsiteY13" fmla="*/ 1277588 h 1277588"/>
              <a:gd name="connsiteX14" fmla="*/ 2268093 w 6105905"/>
              <a:gd name="connsiteY14" fmla="*/ 791337 h 1277588"/>
              <a:gd name="connsiteX15" fmla="*/ 1785366 w 6105905"/>
              <a:gd name="connsiteY15" fmla="*/ 308610 h 1277588"/>
              <a:gd name="connsiteX16" fmla="*/ 1785366 w 6105905"/>
              <a:gd name="connsiteY16" fmla="*/ 1153763 h 1277588"/>
              <a:gd name="connsiteX17" fmla="*/ 1442657 w 6105905"/>
              <a:gd name="connsiteY17" fmla="*/ 791337 h 1277588"/>
              <a:gd name="connsiteX18" fmla="*/ 1781747 w 6105905"/>
              <a:gd name="connsiteY18" fmla="*/ 430625 h 1277588"/>
              <a:gd name="connsiteX19" fmla="*/ 2126266 w 6105905"/>
              <a:gd name="connsiteY19" fmla="*/ 794861 h 1277588"/>
              <a:gd name="connsiteX20" fmla="*/ 1785366 w 6105905"/>
              <a:gd name="connsiteY20" fmla="*/ 1153763 h 1277588"/>
              <a:gd name="connsiteX21" fmla="*/ 2836831 w 6105905"/>
              <a:gd name="connsiteY21" fmla="*/ 1098137 h 1277588"/>
              <a:gd name="connsiteX22" fmla="*/ 2524601 w 6105905"/>
              <a:gd name="connsiteY22" fmla="*/ 328327 h 1277588"/>
              <a:gd name="connsiteX23" fmla="*/ 2372106 w 6105905"/>
              <a:gd name="connsiteY23" fmla="*/ 328327 h 1277588"/>
              <a:gd name="connsiteX24" fmla="*/ 2774061 w 6105905"/>
              <a:gd name="connsiteY24" fmla="*/ 1263206 h 1277588"/>
              <a:gd name="connsiteX25" fmla="*/ 2896076 w 6105905"/>
              <a:gd name="connsiteY25" fmla="*/ 1263206 h 1277588"/>
              <a:gd name="connsiteX26" fmla="*/ 3299841 w 6105905"/>
              <a:gd name="connsiteY26" fmla="*/ 328327 h 1277588"/>
              <a:gd name="connsiteX27" fmla="*/ 3150870 w 6105905"/>
              <a:gd name="connsiteY27" fmla="*/ 328327 h 1277588"/>
              <a:gd name="connsiteX28" fmla="*/ 2836831 w 6105905"/>
              <a:gd name="connsiteY28" fmla="*/ 1098137 h 1277588"/>
              <a:gd name="connsiteX29" fmla="*/ 3850672 w 6105905"/>
              <a:gd name="connsiteY29" fmla="*/ 308610 h 1277588"/>
              <a:gd name="connsiteX30" fmla="*/ 3405664 w 6105905"/>
              <a:gd name="connsiteY30" fmla="*/ 793052 h 1277588"/>
              <a:gd name="connsiteX31" fmla="*/ 3868579 w 6105905"/>
              <a:gd name="connsiteY31" fmla="*/ 1277493 h 1277588"/>
              <a:gd name="connsiteX32" fmla="*/ 4250817 w 6105905"/>
              <a:gd name="connsiteY32" fmla="*/ 1103471 h 1277588"/>
              <a:gd name="connsiteX33" fmla="*/ 4164711 w 6105905"/>
              <a:gd name="connsiteY33" fmla="*/ 1026319 h 1277588"/>
              <a:gd name="connsiteX34" fmla="*/ 3872198 w 6105905"/>
              <a:gd name="connsiteY34" fmla="*/ 1157288 h 1277588"/>
              <a:gd name="connsiteX35" fmla="*/ 3545586 w 6105905"/>
              <a:gd name="connsiteY35" fmla="*/ 843248 h 1277588"/>
              <a:gd name="connsiteX36" fmla="*/ 4281297 w 6105905"/>
              <a:gd name="connsiteY36" fmla="*/ 843248 h 1277588"/>
              <a:gd name="connsiteX37" fmla="*/ 4283107 w 6105905"/>
              <a:gd name="connsiteY37" fmla="*/ 800195 h 1277588"/>
              <a:gd name="connsiteX38" fmla="*/ 3850672 w 6105905"/>
              <a:gd name="connsiteY38" fmla="*/ 308610 h 1277588"/>
              <a:gd name="connsiteX39" fmla="*/ 3545586 w 6105905"/>
              <a:gd name="connsiteY39" fmla="*/ 741045 h 1277588"/>
              <a:gd name="connsiteX40" fmla="*/ 3847053 w 6105905"/>
              <a:gd name="connsiteY40" fmla="*/ 425196 h 1277588"/>
              <a:gd name="connsiteX41" fmla="*/ 4143089 w 6105905"/>
              <a:gd name="connsiteY41" fmla="*/ 741045 h 1277588"/>
              <a:gd name="connsiteX42" fmla="*/ 3545586 w 6105905"/>
              <a:gd name="connsiteY42" fmla="*/ 741045 h 1277588"/>
              <a:gd name="connsiteX43" fmla="*/ 4537901 w 6105905"/>
              <a:gd name="connsiteY43" fmla="*/ 1256062 h 1277588"/>
              <a:gd name="connsiteX44" fmla="*/ 4676108 w 6105905"/>
              <a:gd name="connsiteY44" fmla="*/ 1256062 h 1277588"/>
              <a:gd name="connsiteX45" fmla="*/ 4676108 w 6105905"/>
              <a:gd name="connsiteY45" fmla="*/ 0 h 1277588"/>
              <a:gd name="connsiteX46" fmla="*/ 4537901 w 6105905"/>
              <a:gd name="connsiteY46" fmla="*/ 0 h 1277588"/>
              <a:gd name="connsiteX47" fmla="*/ 4537901 w 6105905"/>
              <a:gd name="connsiteY47" fmla="*/ 1256062 h 1277588"/>
              <a:gd name="connsiteX48" fmla="*/ 5009769 w 6105905"/>
              <a:gd name="connsiteY48" fmla="*/ 1256062 h 1277588"/>
              <a:gd name="connsiteX49" fmla="*/ 5147977 w 6105905"/>
              <a:gd name="connsiteY49" fmla="*/ 1256062 h 1277588"/>
              <a:gd name="connsiteX50" fmla="*/ 5147977 w 6105905"/>
              <a:gd name="connsiteY50" fmla="*/ 294323 h 1277588"/>
              <a:gd name="connsiteX51" fmla="*/ 5009769 w 6105905"/>
              <a:gd name="connsiteY51" fmla="*/ 294323 h 1277588"/>
              <a:gd name="connsiteX52" fmla="*/ 5009769 w 6105905"/>
              <a:gd name="connsiteY52" fmla="*/ 1256062 h 1277588"/>
              <a:gd name="connsiteX53" fmla="*/ 5808250 w 6105905"/>
              <a:gd name="connsiteY53" fmla="*/ 726758 h 1277588"/>
              <a:gd name="connsiteX54" fmla="*/ 5569649 w 6105905"/>
              <a:gd name="connsiteY54" fmla="*/ 567023 h 1277588"/>
              <a:gd name="connsiteX55" fmla="*/ 5569649 w 6105905"/>
              <a:gd name="connsiteY55" fmla="*/ 563404 h 1277588"/>
              <a:gd name="connsiteX56" fmla="*/ 5749100 w 6105905"/>
              <a:gd name="connsiteY56" fmla="*/ 428816 h 1277588"/>
              <a:gd name="connsiteX57" fmla="*/ 6023610 w 6105905"/>
              <a:gd name="connsiteY57" fmla="*/ 518541 h 1277588"/>
              <a:gd name="connsiteX58" fmla="*/ 6086380 w 6105905"/>
              <a:gd name="connsiteY58" fmla="*/ 414433 h 1277588"/>
              <a:gd name="connsiteX59" fmla="*/ 5752624 w 6105905"/>
              <a:gd name="connsiteY59" fmla="*/ 312134 h 1277588"/>
              <a:gd name="connsiteX60" fmla="*/ 5436775 w 6105905"/>
              <a:gd name="connsiteY60" fmla="*/ 577691 h 1277588"/>
              <a:gd name="connsiteX61" fmla="*/ 5436775 w 6105905"/>
              <a:gd name="connsiteY61" fmla="*/ 581311 h 1277588"/>
              <a:gd name="connsiteX62" fmla="*/ 5743575 w 6105905"/>
              <a:gd name="connsiteY62" fmla="*/ 843248 h 1277588"/>
              <a:gd name="connsiteX63" fmla="*/ 5975033 w 6105905"/>
              <a:gd name="connsiteY63" fmla="*/ 1006507 h 1277588"/>
              <a:gd name="connsiteX64" fmla="*/ 5975033 w 6105905"/>
              <a:gd name="connsiteY64" fmla="*/ 1010126 h 1277588"/>
              <a:gd name="connsiteX65" fmla="*/ 5783009 w 6105905"/>
              <a:gd name="connsiteY65" fmla="*/ 1157288 h 1277588"/>
              <a:gd name="connsiteX66" fmla="*/ 5461826 w 6105905"/>
              <a:gd name="connsiteY66" fmla="*/ 1038892 h 1277588"/>
              <a:gd name="connsiteX67" fmla="*/ 5391817 w 6105905"/>
              <a:gd name="connsiteY67" fmla="*/ 1137571 h 1277588"/>
              <a:gd name="connsiteX68" fmla="*/ 5775770 w 6105905"/>
              <a:gd name="connsiteY68" fmla="*/ 1273969 h 1277588"/>
              <a:gd name="connsiteX69" fmla="*/ 6105906 w 6105905"/>
              <a:gd name="connsiteY69" fmla="*/ 995839 h 1277588"/>
              <a:gd name="connsiteX70" fmla="*/ 6105906 w 6105905"/>
              <a:gd name="connsiteY70" fmla="*/ 992219 h 1277588"/>
              <a:gd name="connsiteX71" fmla="*/ 5808250 w 6105905"/>
              <a:gd name="connsiteY71" fmla="*/ 726758 h 1277588"/>
              <a:gd name="connsiteX72" fmla="*/ 5009769 w 6105905"/>
              <a:gd name="connsiteY72" fmla="*/ 138208 h 1277588"/>
              <a:gd name="connsiteX73" fmla="*/ 5147977 w 6105905"/>
              <a:gd name="connsiteY73" fmla="*/ 138208 h 1277588"/>
              <a:gd name="connsiteX74" fmla="*/ 5147977 w 6105905"/>
              <a:gd name="connsiteY74" fmla="*/ 0 h 1277588"/>
              <a:gd name="connsiteX75" fmla="*/ 5009769 w 6105905"/>
              <a:gd name="connsiteY75" fmla="*/ 0 h 1277588"/>
              <a:gd name="connsiteX76" fmla="*/ 5009769 w 6105905"/>
              <a:gd name="connsiteY76" fmla="*/ 138208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</a:cxnLst>
            <a:rect l="l" t="t" r="r" b="b"/>
            <a:pathLst>
              <a:path w="6105905" h="1277588">
                <a:moveTo>
                  <a:pt x="924115" y="1006602"/>
                </a:moveTo>
                <a:lnTo>
                  <a:pt x="132779" y="0"/>
                </a:lnTo>
                <a:lnTo>
                  <a:pt x="0" y="0"/>
                </a:lnTo>
                <a:lnTo>
                  <a:pt x="0" y="1256062"/>
                </a:lnTo>
                <a:lnTo>
                  <a:pt x="138208" y="1256062"/>
                </a:lnTo>
                <a:lnTo>
                  <a:pt x="138208" y="226124"/>
                </a:lnTo>
                <a:lnTo>
                  <a:pt x="949262" y="1256062"/>
                </a:lnTo>
                <a:lnTo>
                  <a:pt x="1062323" y="1256062"/>
                </a:lnTo>
                <a:lnTo>
                  <a:pt x="1062323" y="0"/>
                </a:lnTo>
                <a:lnTo>
                  <a:pt x="924115" y="0"/>
                </a:lnTo>
                <a:lnTo>
                  <a:pt x="924115" y="1006602"/>
                </a:lnTo>
                <a:close/>
                <a:moveTo>
                  <a:pt x="1785366" y="308610"/>
                </a:moveTo>
                <a:cubicBezTo>
                  <a:pt x="1505426" y="308610"/>
                  <a:pt x="1300925" y="531114"/>
                  <a:pt x="1300925" y="794861"/>
                </a:cubicBezTo>
                <a:cubicBezTo>
                  <a:pt x="1300925" y="1058609"/>
                  <a:pt x="1503712" y="1277588"/>
                  <a:pt x="1781842" y="1277588"/>
                </a:cubicBezTo>
                <a:cubicBezTo>
                  <a:pt x="2061782" y="1277588"/>
                  <a:pt x="2268093" y="1055084"/>
                  <a:pt x="2268093" y="791337"/>
                </a:cubicBezTo>
                <a:cubicBezTo>
                  <a:pt x="2268093" y="527590"/>
                  <a:pt x="2063496" y="308610"/>
                  <a:pt x="1785366" y="308610"/>
                </a:cubicBezTo>
                <a:close/>
                <a:moveTo>
                  <a:pt x="1785366" y="1153763"/>
                </a:moveTo>
                <a:cubicBezTo>
                  <a:pt x="1589818" y="1153763"/>
                  <a:pt x="1442657" y="992315"/>
                  <a:pt x="1442657" y="791337"/>
                </a:cubicBezTo>
                <a:cubicBezTo>
                  <a:pt x="1442657" y="590360"/>
                  <a:pt x="1580864" y="430625"/>
                  <a:pt x="1781747" y="430625"/>
                </a:cubicBezTo>
                <a:cubicBezTo>
                  <a:pt x="1977295" y="430625"/>
                  <a:pt x="2126266" y="592074"/>
                  <a:pt x="2126266" y="794861"/>
                </a:cubicBezTo>
                <a:cubicBezTo>
                  <a:pt x="2126361" y="994029"/>
                  <a:pt x="1986343" y="1153763"/>
                  <a:pt x="1785366" y="1153763"/>
                </a:cubicBezTo>
                <a:close/>
                <a:moveTo>
                  <a:pt x="2836831" y="1098137"/>
                </a:moveTo>
                <a:lnTo>
                  <a:pt x="2524601" y="328327"/>
                </a:lnTo>
                <a:lnTo>
                  <a:pt x="2372106" y="328327"/>
                </a:lnTo>
                <a:lnTo>
                  <a:pt x="2774061" y="1263206"/>
                </a:lnTo>
                <a:lnTo>
                  <a:pt x="2896076" y="1263206"/>
                </a:lnTo>
                <a:lnTo>
                  <a:pt x="3299841" y="328327"/>
                </a:lnTo>
                <a:lnTo>
                  <a:pt x="3150870" y="328327"/>
                </a:lnTo>
                <a:lnTo>
                  <a:pt x="2836831" y="1098137"/>
                </a:lnTo>
                <a:close/>
                <a:moveTo>
                  <a:pt x="3850672" y="308610"/>
                </a:moveTo>
                <a:cubicBezTo>
                  <a:pt x="3594068" y="308610"/>
                  <a:pt x="3405664" y="523970"/>
                  <a:pt x="3405664" y="793052"/>
                </a:cubicBezTo>
                <a:cubicBezTo>
                  <a:pt x="3405664" y="1081945"/>
                  <a:pt x="3613785" y="1277493"/>
                  <a:pt x="3868579" y="1277493"/>
                </a:cubicBezTo>
                <a:cubicBezTo>
                  <a:pt x="4044410" y="1277493"/>
                  <a:pt x="4157472" y="1207484"/>
                  <a:pt x="4250817" y="1103471"/>
                </a:cubicBezTo>
                <a:lnTo>
                  <a:pt x="4164711" y="1026319"/>
                </a:lnTo>
                <a:cubicBezTo>
                  <a:pt x="4089368" y="1105281"/>
                  <a:pt x="3999643" y="1157288"/>
                  <a:pt x="3872198" y="1157288"/>
                </a:cubicBezTo>
                <a:cubicBezTo>
                  <a:pt x="3708940" y="1157288"/>
                  <a:pt x="3565398" y="1044226"/>
                  <a:pt x="3545586" y="843248"/>
                </a:cubicBezTo>
                <a:lnTo>
                  <a:pt x="4281297" y="843248"/>
                </a:lnTo>
                <a:cubicBezTo>
                  <a:pt x="4283107" y="827056"/>
                  <a:pt x="4283107" y="812768"/>
                  <a:pt x="4283107" y="800195"/>
                </a:cubicBezTo>
                <a:cubicBezTo>
                  <a:pt x="4283107" y="527590"/>
                  <a:pt x="4125182" y="308610"/>
                  <a:pt x="3850672" y="308610"/>
                </a:cubicBezTo>
                <a:close/>
                <a:moveTo>
                  <a:pt x="3545586" y="741045"/>
                </a:moveTo>
                <a:cubicBezTo>
                  <a:pt x="3563493" y="559784"/>
                  <a:pt x="3685508" y="425196"/>
                  <a:pt x="3847053" y="425196"/>
                </a:cubicBezTo>
                <a:cubicBezTo>
                  <a:pt x="4031837" y="425196"/>
                  <a:pt x="4128802" y="572357"/>
                  <a:pt x="4143089" y="741045"/>
                </a:cubicBezTo>
                <a:lnTo>
                  <a:pt x="3545586" y="741045"/>
                </a:lnTo>
                <a:close/>
                <a:moveTo>
                  <a:pt x="4537901" y="1256062"/>
                </a:moveTo>
                <a:lnTo>
                  <a:pt x="4676108" y="1256062"/>
                </a:lnTo>
                <a:lnTo>
                  <a:pt x="4676108" y="0"/>
                </a:lnTo>
                <a:lnTo>
                  <a:pt x="4537901" y="0"/>
                </a:lnTo>
                <a:lnTo>
                  <a:pt x="4537901" y="1256062"/>
                </a:lnTo>
                <a:close/>
                <a:moveTo>
                  <a:pt x="5009769" y="1256062"/>
                </a:moveTo>
                <a:lnTo>
                  <a:pt x="5147977" y="1256062"/>
                </a:lnTo>
                <a:lnTo>
                  <a:pt x="5147977" y="294323"/>
                </a:lnTo>
                <a:lnTo>
                  <a:pt x="5009769" y="294323"/>
                </a:lnTo>
                <a:lnTo>
                  <a:pt x="5009769" y="1256062"/>
                </a:lnTo>
                <a:close/>
                <a:moveTo>
                  <a:pt x="5808250" y="726758"/>
                </a:moveTo>
                <a:cubicBezTo>
                  <a:pt x="5684425" y="689038"/>
                  <a:pt x="5569649" y="654939"/>
                  <a:pt x="5569649" y="567023"/>
                </a:cubicBezTo>
                <a:lnTo>
                  <a:pt x="5569649" y="563404"/>
                </a:lnTo>
                <a:cubicBezTo>
                  <a:pt x="5569649" y="486251"/>
                  <a:pt x="5639658" y="428816"/>
                  <a:pt x="5749100" y="428816"/>
                </a:cubicBezTo>
                <a:cubicBezTo>
                  <a:pt x="5838825" y="428816"/>
                  <a:pt x="5937504" y="462915"/>
                  <a:pt x="6023610" y="518541"/>
                </a:cubicBezTo>
                <a:lnTo>
                  <a:pt x="6086380" y="414433"/>
                </a:lnTo>
                <a:cubicBezTo>
                  <a:pt x="5991321" y="351663"/>
                  <a:pt x="5865686" y="312134"/>
                  <a:pt x="5752624" y="312134"/>
                </a:cubicBezTo>
                <a:cubicBezTo>
                  <a:pt x="5569649" y="312134"/>
                  <a:pt x="5436775" y="417957"/>
                  <a:pt x="5436775" y="577691"/>
                </a:cubicBezTo>
                <a:lnTo>
                  <a:pt x="5436775" y="581311"/>
                </a:lnTo>
                <a:cubicBezTo>
                  <a:pt x="5436775" y="751808"/>
                  <a:pt x="5598224" y="802005"/>
                  <a:pt x="5743575" y="843248"/>
                </a:cubicBezTo>
                <a:cubicBezTo>
                  <a:pt x="5865590" y="877348"/>
                  <a:pt x="5975033" y="913257"/>
                  <a:pt x="5975033" y="1006507"/>
                </a:cubicBezTo>
                <a:lnTo>
                  <a:pt x="5975033" y="1010126"/>
                </a:lnTo>
                <a:cubicBezTo>
                  <a:pt x="5975033" y="1099852"/>
                  <a:pt x="5894261" y="1157288"/>
                  <a:pt x="5783009" y="1157288"/>
                </a:cubicBezTo>
                <a:cubicBezTo>
                  <a:pt x="5673567" y="1157288"/>
                  <a:pt x="5562314" y="1114235"/>
                  <a:pt x="5461826" y="1038892"/>
                </a:cubicBezTo>
                <a:lnTo>
                  <a:pt x="5391817" y="1137571"/>
                </a:lnTo>
                <a:cubicBezTo>
                  <a:pt x="5495925" y="1221867"/>
                  <a:pt x="5642991" y="1273969"/>
                  <a:pt x="5775770" y="1273969"/>
                </a:cubicBezTo>
                <a:cubicBezTo>
                  <a:pt x="5960555" y="1273969"/>
                  <a:pt x="6105906" y="1171670"/>
                  <a:pt x="6105906" y="995839"/>
                </a:cubicBezTo>
                <a:lnTo>
                  <a:pt x="6105906" y="992219"/>
                </a:lnTo>
                <a:cubicBezTo>
                  <a:pt x="6106097" y="825437"/>
                  <a:pt x="5951792" y="769811"/>
                  <a:pt x="5808250" y="726758"/>
                </a:cubicBezTo>
                <a:close/>
                <a:moveTo>
                  <a:pt x="5009769" y="138208"/>
                </a:moveTo>
                <a:lnTo>
                  <a:pt x="5147977" y="138208"/>
                </a:lnTo>
                <a:lnTo>
                  <a:pt x="5147977" y="0"/>
                </a:lnTo>
                <a:lnTo>
                  <a:pt x="5009769" y="0"/>
                </a:lnTo>
                <a:lnTo>
                  <a:pt x="5009769" y="138208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950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702" r:id="rId3"/>
    <p:sldLayoutId id="2147483685" r:id="rId4"/>
    <p:sldLayoutId id="2147483684" r:id="rId5"/>
    <p:sldLayoutId id="2147483705" r:id="rId6"/>
    <p:sldLayoutId id="2147483706" r:id="rId7"/>
    <p:sldLayoutId id="2147483707" r:id="rId8"/>
    <p:sldLayoutId id="2147483708" r:id="rId9"/>
    <p:sldLayoutId id="2147483676" r:id="rId10"/>
    <p:sldLayoutId id="2147483679" r:id="rId11"/>
    <p:sldLayoutId id="2147483688" r:id="rId12"/>
    <p:sldLayoutId id="2147483693" r:id="rId13"/>
    <p:sldLayoutId id="2147483689" r:id="rId14"/>
    <p:sldLayoutId id="2147483697" r:id="rId15"/>
    <p:sldLayoutId id="2147483687" r:id="rId16"/>
    <p:sldLayoutId id="2147483703" r:id="rId17"/>
    <p:sldLayoutId id="2147483694" r:id="rId18"/>
    <p:sldLayoutId id="2147483701" r:id="rId19"/>
    <p:sldLayoutId id="2147483712" r:id="rId20"/>
    <p:sldLayoutId id="2147483699" r:id="rId21"/>
    <p:sldLayoutId id="2147483698" r:id="rId22"/>
    <p:sldLayoutId id="2147483710" r:id="rId23"/>
    <p:sldLayoutId id="2147483709" r:id="rId24"/>
    <p:sldLayoutId id="2147483733" r:id="rId25"/>
    <p:sldLayoutId id="2147483756" r:id="rId26"/>
    <p:sldLayoutId id="214748375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spc="150" baseline="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57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6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84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6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11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6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Arial" panose="020B0604020202020204" pitchFamily="34" charset="0"/>
        <a:buChar char="–"/>
        <a:defRPr sz="16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Symbol" panose="05050102010706020507" pitchFamily="18" charset="2"/>
        <a:buChar char="-"/>
        <a:defRPr sz="1600" kern="1200">
          <a:solidFill>
            <a:schemeClr val="accent6"/>
          </a:solidFill>
          <a:latin typeface="+mn-lt"/>
          <a:ea typeface="+mn-ea"/>
          <a:cs typeface="+mn-cs"/>
        </a:defRPr>
      </a:lvl6pPr>
      <a:lvl7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5"/>
        </a:buClr>
        <a:buFont typeface="Symbol" panose="05050102010706020507" pitchFamily="18" charset="2"/>
        <a:buChar char="-"/>
        <a:defRPr sz="1600" kern="1200">
          <a:solidFill>
            <a:schemeClr val="accent6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800" kern="1200" cap="all" baseline="0">
          <a:solidFill>
            <a:schemeClr val="bg2">
              <a:lumMod val="6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3" userDrawn="1">
          <p15:clr>
            <a:srgbClr val="F26B43"/>
          </p15:clr>
        </p15:guide>
        <p15:guide id="2" orient="horz" pos="1311" userDrawn="1">
          <p15:clr>
            <a:srgbClr val="F26B43"/>
          </p15:clr>
        </p15:guide>
        <p15:guide id="3" pos="339" userDrawn="1">
          <p15:clr>
            <a:srgbClr val="F26B43"/>
          </p15:clr>
        </p15:guide>
        <p15:guide id="5" orient="horz" pos="3921" userDrawn="1">
          <p15:clr>
            <a:srgbClr val="F26B43"/>
          </p15:clr>
        </p15:guide>
        <p15:guide id="6" pos="73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882" y="2082700"/>
            <a:ext cx="11110237" cy="4140000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540882" y="6451895"/>
            <a:ext cx="288037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b="1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fld id="{02CEFE82-39F2-4F47-8A0C-D5AB3496FA5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itelplatzhalter 7">
            <a:extLst>
              <a:ext uri="{FF2B5EF4-FFF2-40B4-BE49-F238E27FC236}">
                <a16:creationId xmlns:a16="http://schemas.microsoft.com/office/drawing/2014/main" id="{70881CB1-5926-472A-8574-E4B3B37AFAD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883" y="441625"/>
            <a:ext cx="11110235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6F017570-7BA7-41A8-BADF-E3DEFE0258E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8CCAF7-5A76-49A0-AA2D-1E88BF400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16344" y="6451895"/>
            <a:ext cx="411374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7</a:t>
            </a:r>
          </a:p>
        </p:txBody>
      </p:sp>
      <p:sp>
        <p:nvSpPr>
          <p:cNvPr id="43" name="Grafik 4">
            <a:extLst>
              <a:ext uri="{FF2B5EF4-FFF2-40B4-BE49-F238E27FC236}">
                <a16:creationId xmlns:a16="http://schemas.microsoft.com/office/drawing/2014/main" id="{585203D5-2CAD-4527-A7F8-281F86AA2A8A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>
              <a:solidFill>
                <a:schemeClr val="bg1"/>
              </a:solidFill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06F6DD1-6F2B-4BC7-8D94-D16ACE49058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6" name="Hilfslinie">
              <a:extLst>
                <a:ext uri="{FF2B5EF4-FFF2-40B4-BE49-F238E27FC236}">
                  <a16:creationId xmlns:a16="http://schemas.microsoft.com/office/drawing/2014/main" id="{4D39D6D3-4146-4525-9CC2-AE6CAFD2E1F3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193782E1-2CEA-425B-AA9E-BC651519B518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43EAF8DA-A84A-43BD-9D02-E83539566F7B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FE26AEA3-5451-4AE0-B65B-17AE3581E746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E80B6D82-C6CA-4185-B301-4076AE76D2F1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D35329AE-DDB3-4F4A-AE78-7D9995A6C997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E8E096F4-A893-403A-8EBF-DD3F8CE42784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1" name="Line">
                <a:extLst>
                  <a:ext uri="{FF2B5EF4-FFF2-40B4-BE49-F238E27FC236}">
                    <a16:creationId xmlns:a16="http://schemas.microsoft.com/office/drawing/2014/main" id="{BE1DF758-A406-4B9E-87E2-D7E7DF93F3A2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">
                <a:extLst>
                  <a:ext uri="{FF2B5EF4-FFF2-40B4-BE49-F238E27FC236}">
                    <a16:creationId xmlns:a16="http://schemas.microsoft.com/office/drawing/2014/main" id="{AB2697FE-92B5-4599-8EA3-2F8314D21354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 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8,32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34605866-BDFE-4F2A-B6C1-6DDF8CF0F7FF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9" name="Line">
                <a:extLst>
                  <a:ext uri="{FF2B5EF4-FFF2-40B4-BE49-F238E27FC236}">
                    <a16:creationId xmlns:a16="http://schemas.microsoft.com/office/drawing/2014/main" id="{42123C13-5C53-4FD9-B97F-29A35DA70851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">
                <a:extLst>
                  <a:ext uri="{FF2B5EF4-FFF2-40B4-BE49-F238E27FC236}">
                    <a16:creationId xmlns:a16="http://schemas.microsoft.com/office/drawing/2014/main" id="{46B1E67E-5299-412A-A2C2-2538EAE1E17C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3,74</a:t>
                </a:r>
              </a:p>
            </p:txBody>
          </p:sp>
        </p:grpSp>
        <p:grpSp>
          <p:nvGrpSpPr>
            <p:cNvPr id="46" name="Hilfslinie">
              <a:extLst>
                <a:ext uri="{FF2B5EF4-FFF2-40B4-BE49-F238E27FC236}">
                  <a16:creationId xmlns:a16="http://schemas.microsoft.com/office/drawing/2014/main" id="{3B8B81BC-BE03-4FD0-B85C-5543E6AAE8A5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7" name="Line">
                <a:extLst>
                  <a:ext uri="{FF2B5EF4-FFF2-40B4-BE49-F238E27FC236}">
                    <a16:creationId xmlns:a16="http://schemas.microsoft.com/office/drawing/2014/main" id="{8219A9F7-9D94-4E63-B07E-B39CDCCBB1A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">
                <a:extLst>
                  <a:ext uri="{FF2B5EF4-FFF2-40B4-BE49-F238E27FC236}">
                    <a16:creationId xmlns:a16="http://schemas.microsoft.com/office/drawing/2014/main" id="{3CB2EF17-FBA7-45D5-9741-2B21826416DF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4219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29" r:id="rId2"/>
    <p:sldLayoutId id="2147483730" r:id="rId3"/>
    <p:sldLayoutId id="2147483731" r:id="rId4"/>
    <p:sldLayoutId id="2147483732" r:id="rId5"/>
    <p:sldLayoutId id="2147483700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spc="15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57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84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11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+mn-lt"/>
          <a:ea typeface="+mn-ea"/>
          <a:cs typeface="+mn-cs"/>
        </a:defRPr>
      </a:lvl6pPr>
      <a:lvl7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b="1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800" kern="1200" cap="all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0" userDrawn="1">
          <p15:clr>
            <a:srgbClr val="F26B43"/>
          </p15:clr>
        </p15:guide>
        <p15:guide id="2" orient="horz" pos="1311" userDrawn="1">
          <p15:clr>
            <a:srgbClr val="F26B43"/>
          </p15:clr>
        </p15:guide>
        <p15:guide id="3" pos="339" userDrawn="1">
          <p15:clr>
            <a:srgbClr val="F26B43"/>
          </p15:clr>
        </p15:guide>
        <p15:guide id="5" orient="horz" pos="3921" userDrawn="1">
          <p15:clr>
            <a:srgbClr val="F26B43"/>
          </p15:clr>
        </p15:guide>
        <p15:guide id="6" pos="733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gradFill>
          <a:gsLst>
            <a:gs pos="0">
              <a:schemeClr val="accent6"/>
            </a:gs>
            <a:gs pos="100000">
              <a:schemeClr val="tx2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882" y="2082700"/>
            <a:ext cx="11110237" cy="4140000"/>
          </a:xfrm>
          <a:prstGeom prst="rect">
            <a:avLst/>
          </a:prstGeom>
        </p:spPr>
        <p:txBody>
          <a:bodyPr vert="horz" lIns="0" tIns="10800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7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6" name="Foliennummer"/>
          <p:cNvSpPr>
            <a:spLocks noGrp="1"/>
          </p:cNvSpPr>
          <p:nvPr>
            <p:ph type="sldNum" sz="quarter" idx="4"/>
          </p:nvPr>
        </p:nvSpPr>
        <p:spPr bwMode="gray">
          <a:xfrm>
            <a:off x="540882" y="6451895"/>
            <a:ext cx="288037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b="1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fld id="{02CEFE82-39F2-4F47-8A0C-D5AB3496FA5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Titelplatzhalter 7">
            <a:extLst>
              <a:ext uri="{FF2B5EF4-FFF2-40B4-BE49-F238E27FC236}">
                <a16:creationId xmlns:a16="http://schemas.microsoft.com/office/drawing/2014/main" id="{70881CB1-5926-472A-8574-E4B3B37AFAD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883" y="441625"/>
            <a:ext cx="11110235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6F017570-7BA7-41A8-BADF-E3DEFE0258E6}"/>
              </a:ext>
            </a:extLst>
          </p:cNvPr>
          <p:cNvCxnSpPr>
            <a:cxnSpLocks/>
          </p:cNvCxnSpPr>
          <p:nvPr userDrawn="1"/>
        </p:nvCxnSpPr>
        <p:spPr bwMode="gray">
          <a:xfrm rot="5400000">
            <a:off x="793374" y="6544457"/>
            <a:ext cx="144000" cy="0"/>
          </a:xfrm>
          <a:prstGeom prst="line">
            <a:avLst/>
          </a:prstGeom>
          <a:ln w="6350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8CCAF7-5A76-49A0-AA2D-1E88BF4000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016344" y="6451895"/>
            <a:ext cx="411374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7</a:t>
            </a:r>
          </a:p>
        </p:txBody>
      </p:sp>
      <p:sp>
        <p:nvSpPr>
          <p:cNvPr id="43" name="Grafik 4">
            <a:extLst>
              <a:ext uri="{FF2B5EF4-FFF2-40B4-BE49-F238E27FC236}">
                <a16:creationId xmlns:a16="http://schemas.microsoft.com/office/drawing/2014/main" id="{585203D5-2CAD-4527-A7F8-281F86AA2A8A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10751002" y="6450319"/>
            <a:ext cx="900117" cy="188297"/>
          </a:xfrm>
          <a:custGeom>
            <a:avLst/>
            <a:gdLst>
              <a:gd name="connsiteX0" fmla="*/ 924026 w 6106477"/>
              <a:gd name="connsiteY0" fmla="*/ 1006385 h 1277588"/>
              <a:gd name="connsiteX1" fmla="*/ 132689 w 6106477"/>
              <a:gd name="connsiteY1" fmla="*/ -217 h 1277588"/>
              <a:gd name="connsiteX2" fmla="*/ -90 w 6106477"/>
              <a:gd name="connsiteY2" fmla="*/ -217 h 1277588"/>
              <a:gd name="connsiteX3" fmla="*/ -90 w 6106477"/>
              <a:gd name="connsiteY3" fmla="*/ 1256035 h 1277588"/>
              <a:gd name="connsiteX4" fmla="*/ 138118 w 6106477"/>
              <a:gd name="connsiteY4" fmla="*/ 1256035 h 1277588"/>
              <a:gd name="connsiteX5" fmla="*/ 138118 w 6106477"/>
              <a:gd name="connsiteY5" fmla="*/ 225906 h 1277588"/>
              <a:gd name="connsiteX6" fmla="*/ 949172 w 6106477"/>
              <a:gd name="connsiteY6" fmla="*/ 1256035 h 1277588"/>
              <a:gd name="connsiteX7" fmla="*/ 1062138 w 6106477"/>
              <a:gd name="connsiteY7" fmla="*/ 1256035 h 1277588"/>
              <a:gd name="connsiteX8" fmla="*/ 1062138 w 6106477"/>
              <a:gd name="connsiteY8" fmla="*/ -217 h 1277588"/>
              <a:gd name="connsiteX9" fmla="*/ 924026 w 6106477"/>
              <a:gd name="connsiteY9" fmla="*/ -217 h 1277588"/>
              <a:gd name="connsiteX10" fmla="*/ 1785276 w 6106477"/>
              <a:gd name="connsiteY10" fmla="*/ 308393 h 1277588"/>
              <a:gd name="connsiteX11" fmla="*/ 1300835 w 6106477"/>
              <a:gd name="connsiteY11" fmla="*/ 794644 h 1277588"/>
              <a:gd name="connsiteX12" fmla="*/ 1781752 w 6106477"/>
              <a:gd name="connsiteY12" fmla="*/ 1277371 h 1277588"/>
              <a:gd name="connsiteX13" fmla="*/ 2267527 w 6106477"/>
              <a:gd name="connsiteY13" fmla="*/ 791120 h 1277588"/>
              <a:gd name="connsiteX14" fmla="*/ 1785276 w 6106477"/>
              <a:gd name="connsiteY14" fmla="*/ 308393 h 1277588"/>
              <a:gd name="connsiteX15" fmla="*/ 1785276 w 6106477"/>
              <a:gd name="connsiteY15" fmla="*/ 1153546 h 1277588"/>
              <a:gd name="connsiteX16" fmla="*/ 1442376 w 6106477"/>
              <a:gd name="connsiteY16" fmla="*/ 791120 h 1277588"/>
              <a:gd name="connsiteX17" fmla="*/ 1781562 w 6106477"/>
              <a:gd name="connsiteY17" fmla="*/ 430408 h 1277588"/>
              <a:gd name="connsiteX18" fmla="*/ 2126081 w 6106477"/>
              <a:gd name="connsiteY18" fmla="*/ 794644 h 1277588"/>
              <a:gd name="connsiteX19" fmla="*/ 1785276 w 6106477"/>
              <a:gd name="connsiteY19" fmla="*/ 1153546 h 1277588"/>
              <a:gd name="connsiteX20" fmla="*/ 2836741 w 6106477"/>
              <a:gd name="connsiteY20" fmla="*/ 1097920 h 1277588"/>
              <a:gd name="connsiteX21" fmla="*/ 2524607 w 6106477"/>
              <a:gd name="connsiteY21" fmla="*/ 328110 h 1277588"/>
              <a:gd name="connsiteX22" fmla="*/ 2372207 w 6106477"/>
              <a:gd name="connsiteY22" fmla="*/ 328110 h 1277588"/>
              <a:gd name="connsiteX23" fmla="*/ 2774162 w 6106477"/>
              <a:gd name="connsiteY23" fmla="*/ 1262989 h 1277588"/>
              <a:gd name="connsiteX24" fmla="*/ 2895987 w 6106477"/>
              <a:gd name="connsiteY24" fmla="*/ 1262989 h 1277588"/>
              <a:gd name="connsiteX25" fmla="*/ 3299751 w 6106477"/>
              <a:gd name="connsiteY25" fmla="*/ 328110 h 1277588"/>
              <a:gd name="connsiteX26" fmla="*/ 3150781 w 6106477"/>
              <a:gd name="connsiteY26" fmla="*/ 328110 h 1277588"/>
              <a:gd name="connsiteX27" fmla="*/ 3850582 w 6106477"/>
              <a:gd name="connsiteY27" fmla="*/ 308393 h 1277588"/>
              <a:gd name="connsiteX28" fmla="*/ 3405574 w 6106477"/>
              <a:gd name="connsiteY28" fmla="*/ 792930 h 1277588"/>
              <a:gd name="connsiteX29" fmla="*/ 3868489 w 6106477"/>
              <a:gd name="connsiteY29" fmla="*/ 1277371 h 1277588"/>
              <a:gd name="connsiteX30" fmla="*/ 4250728 w 6106477"/>
              <a:gd name="connsiteY30" fmla="*/ 1103349 h 1277588"/>
              <a:gd name="connsiteX31" fmla="*/ 4165002 w 6106477"/>
              <a:gd name="connsiteY31" fmla="*/ 1026197 h 1277588"/>
              <a:gd name="connsiteX32" fmla="*/ 3872585 w 6106477"/>
              <a:gd name="connsiteY32" fmla="*/ 1157166 h 1277588"/>
              <a:gd name="connsiteX33" fmla="*/ 3545973 w 6106477"/>
              <a:gd name="connsiteY33" fmla="*/ 842841 h 1277588"/>
              <a:gd name="connsiteX34" fmla="*/ 4281684 w 6106477"/>
              <a:gd name="connsiteY34" fmla="*/ 842841 h 1277588"/>
              <a:gd name="connsiteX35" fmla="*/ 4283494 w 6106477"/>
              <a:gd name="connsiteY35" fmla="*/ 799788 h 1277588"/>
              <a:gd name="connsiteX36" fmla="*/ 3850582 w 6106477"/>
              <a:gd name="connsiteY36" fmla="*/ 308393 h 1277588"/>
              <a:gd name="connsiteX37" fmla="*/ 3545782 w 6106477"/>
              <a:gd name="connsiteY37" fmla="*/ 740828 h 1277588"/>
              <a:gd name="connsiteX38" fmla="*/ 3847249 w 6106477"/>
              <a:gd name="connsiteY38" fmla="*/ 425074 h 1277588"/>
              <a:gd name="connsiteX39" fmla="*/ 4143286 w 6106477"/>
              <a:gd name="connsiteY39" fmla="*/ 740828 h 1277588"/>
              <a:gd name="connsiteX40" fmla="*/ 4537811 w 6106477"/>
              <a:gd name="connsiteY40" fmla="*/ 1256035 h 1277588"/>
              <a:gd name="connsiteX41" fmla="*/ 4675924 w 6106477"/>
              <a:gd name="connsiteY41" fmla="*/ 1256035 h 1277588"/>
              <a:gd name="connsiteX42" fmla="*/ 4675924 w 6106477"/>
              <a:gd name="connsiteY42" fmla="*/ -217 h 1277588"/>
              <a:gd name="connsiteX43" fmla="*/ 4537811 w 6106477"/>
              <a:gd name="connsiteY43" fmla="*/ -217 h 1277588"/>
              <a:gd name="connsiteX44" fmla="*/ 5009679 w 6106477"/>
              <a:gd name="connsiteY44" fmla="*/ 1256035 h 1277588"/>
              <a:gd name="connsiteX45" fmla="*/ 5147887 w 6106477"/>
              <a:gd name="connsiteY45" fmla="*/ 1256035 h 1277588"/>
              <a:gd name="connsiteX46" fmla="*/ 5147887 w 6106477"/>
              <a:gd name="connsiteY46" fmla="*/ 294010 h 1277588"/>
              <a:gd name="connsiteX47" fmla="*/ 5009679 w 6106477"/>
              <a:gd name="connsiteY47" fmla="*/ 294010 h 1277588"/>
              <a:gd name="connsiteX48" fmla="*/ 5808160 w 6106477"/>
              <a:gd name="connsiteY48" fmla="*/ 726731 h 1277588"/>
              <a:gd name="connsiteX49" fmla="*/ 5569559 w 6106477"/>
              <a:gd name="connsiteY49" fmla="*/ 566997 h 1277588"/>
              <a:gd name="connsiteX50" fmla="*/ 5569559 w 6106477"/>
              <a:gd name="connsiteY50" fmla="*/ 563377 h 1277588"/>
              <a:gd name="connsiteX51" fmla="*/ 5748915 w 6106477"/>
              <a:gd name="connsiteY51" fmla="*/ 428789 h 1277588"/>
              <a:gd name="connsiteX52" fmla="*/ 6023520 w 6106477"/>
              <a:gd name="connsiteY52" fmla="*/ 518514 h 1277588"/>
              <a:gd name="connsiteX53" fmla="*/ 6086290 w 6106477"/>
              <a:gd name="connsiteY53" fmla="*/ 414501 h 1277588"/>
              <a:gd name="connsiteX54" fmla="*/ 5752915 w 6106477"/>
              <a:gd name="connsiteY54" fmla="*/ 312203 h 1277588"/>
              <a:gd name="connsiteX55" fmla="*/ 5437161 w 6106477"/>
              <a:gd name="connsiteY55" fmla="*/ 577760 h 1277588"/>
              <a:gd name="connsiteX56" fmla="*/ 5437161 w 6106477"/>
              <a:gd name="connsiteY56" fmla="*/ 581380 h 1277588"/>
              <a:gd name="connsiteX57" fmla="*/ 5743962 w 6106477"/>
              <a:gd name="connsiteY57" fmla="*/ 843317 h 1277588"/>
              <a:gd name="connsiteX58" fmla="*/ 5975419 w 6106477"/>
              <a:gd name="connsiteY58" fmla="*/ 1006575 h 1277588"/>
              <a:gd name="connsiteX59" fmla="*/ 5975419 w 6106477"/>
              <a:gd name="connsiteY59" fmla="*/ 1010195 h 1277588"/>
              <a:gd name="connsiteX60" fmla="*/ 5783396 w 6106477"/>
              <a:gd name="connsiteY60" fmla="*/ 1157356 h 1277588"/>
              <a:gd name="connsiteX61" fmla="*/ 5462212 w 6106477"/>
              <a:gd name="connsiteY61" fmla="*/ 1038865 h 1277588"/>
              <a:gd name="connsiteX62" fmla="*/ 5392299 w 6106477"/>
              <a:gd name="connsiteY62" fmla="*/ 1137640 h 1277588"/>
              <a:gd name="connsiteX63" fmla="*/ 5776252 w 6106477"/>
              <a:gd name="connsiteY63" fmla="*/ 1273942 h 1277588"/>
              <a:gd name="connsiteX64" fmla="*/ 6106388 w 6106477"/>
              <a:gd name="connsiteY64" fmla="*/ 995812 h 1277588"/>
              <a:gd name="connsiteX65" fmla="*/ 6106388 w 6106477"/>
              <a:gd name="connsiteY65" fmla="*/ 992288 h 1277588"/>
              <a:gd name="connsiteX66" fmla="*/ 5808160 w 6106477"/>
              <a:gd name="connsiteY66" fmla="*/ 726540 h 1277588"/>
              <a:gd name="connsiteX67" fmla="*/ 5009679 w 6106477"/>
              <a:gd name="connsiteY67" fmla="*/ 138181 h 1277588"/>
              <a:gd name="connsiteX68" fmla="*/ 5147887 w 6106477"/>
              <a:gd name="connsiteY68" fmla="*/ 138181 h 1277588"/>
              <a:gd name="connsiteX69" fmla="*/ 5147887 w 6106477"/>
              <a:gd name="connsiteY69" fmla="*/ -217 h 1277588"/>
              <a:gd name="connsiteX70" fmla="*/ 5009679 w 6106477"/>
              <a:gd name="connsiteY70" fmla="*/ -217 h 127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106477" h="1277588">
                <a:moveTo>
                  <a:pt x="924026" y="1006385"/>
                </a:moveTo>
                <a:lnTo>
                  <a:pt x="132689" y="-217"/>
                </a:lnTo>
                <a:lnTo>
                  <a:pt x="-90" y="-217"/>
                </a:lnTo>
                <a:lnTo>
                  <a:pt x="-90" y="1256035"/>
                </a:lnTo>
                <a:lnTo>
                  <a:pt x="138118" y="1256035"/>
                </a:lnTo>
                <a:lnTo>
                  <a:pt x="138118" y="225906"/>
                </a:lnTo>
                <a:lnTo>
                  <a:pt x="949172" y="1256035"/>
                </a:lnTo>
                <a:lnTo>
                  <a:pt x="1062138" y="1256035"/>
                </a:lnTo>
                <a:lnTo>
                  <a:pt x="1062138" y="-217"/>
                </a:lnTo>
                <a:lnTo>
                  <a:pt x="924026" y="-217"/>
                </a:lnTo>
                <a:close/>
                <a:moveTo>
                  <a:pt x="1785276" y="308393"/>
                </a:moveTo>
                <a:cubicBezTo>
                  <a:pt x="1505432" y="308393"/>
                  <a:pt x="1300835" y="530897"/>
                  <a:pt x="1300835" y="794644"/>
                </a:cubicBezTo>
                <a:cubicBezTo>
                  <a:pt x="1300835" y="1058391"/>
                  <a:pt x="1503622" y="1277371"/>
                  <a:pt x="1781752" y="1277371"/>
                </a:cubicBezTo>
                <a:cubicBezTo>
                  <a:pt x="2061692" y="1277371"/>
                  <a:pt x="2267527" y="1054867"/>
                  <a:pt x="2267527" y="791120"/>
                </a:cubicBezTo>
                <a:cubicBezTo>
                  <a:pt x="2267527" y="527373"/>
                  <a:pt x="2063406" y="308393"/>
                  <a:pt x="1785276" y="308393"/>
                </a:cubicBezTo>
                <a:close/>
                <a:moveTo>
                  <a:pt x="1785276" y="1153546"/>
                </a:moveTo>
                <a:cubicBezTo>
                  <a:pt x="1589728" y="1153546"/>
                  <a:pt x="1442376" y="992097"/>
                  <a:pt x="1442376" y="791120"/>
                </a:cubicBezTo>
                <a:cubicBezTo>
                  <a:pt x="1442376" y="590142"/>
                  <a:pt x="1580584" y="430408"/>
                  <a:pt x="1781562" y="430408"/>
                </a:cubicBezTo>
                <a:cubicBezTo>
                  <a:pt x="1977110" y="430408"/>
                  <a:pt x="2126081" y="592333"/>
                  <a:pt x="2126081" y="794644"/>
                </a:cubicBezTo>
                <a:cubicBezTo>
                  <a:pt x="2126272" y="993812"/>
                  <a:pt x="1986254" y="1153546"/>
                  <a:pt x="1785276" y="1153546"/>
                </a:cubicBezTo>
                <a:close/>
                <a:moveTo>
                  <a:pt x="2836741" y="1097920"/>
                </a:moveTo>
                <a:lnTo>
                  <a:pt x="2524607" y="328110"/>
                </a:lnTo>
                <a:lnTo>
                  <a:pt x="2372207" y="328110"/>
                </a:lnTo>
                <a:lnTo>
                  <a:pt x="2774162" y="1262989"/>
                </a:lnTo>
                <a:lnTo>
                  <a:pt x="2895987" y="1262989"/>
                </a:lnTo>
                <a:lnTo>
                  <a:pt x="3299751" y="328110"/>
                </a:lnTo>
                <a:lnTo>
                  <a:pt x="3150781" y="328110"/>
                </a:lnTo>
                <a:close/>
                <a:moveTo>
                  <a:pt x="3850582" y="308393"/>
                </a:moveTo>
                <a:cubicBezTo>
                  <a:pt x="3593979" y="308393"/>
                  <a:pt x="3405574" y="523753"/>
                  <a:pt x="3405574" y="792930"/>
                </a:cubicBezTo>
                <a:cubicBezTo>
                  <a:pt x="3405574" y="1081823"/>
                  <a:pt x="3613695" y="1277371"/>
                  <a:pt x="3868489" y="1277371"/>
                </a:cubicBezTo>
                <a:cubicBezTo>
                  <a:pt x="4044321" y="1277371"/>
                  <a:pt x="4157383" y="1207363"/>
                  <a:pt x="4250728" y="1103349"/>
                </a:cubicBezTo>
                <a:lnTo>
                  <a:pt x="4165002" y="1026197"/>
                </a:lnTo>
                <a:cubicBezTo>
                  <a:pt x="4089660" y="1105159"/>
                  <a:pt x="3999934" y="1157166"/>
                  <a:pt x="3872585" y="1157166"/>
                </a:cubicBezTo>
                <a:cubicBezTo>
                  <a:pt x="3709231" y="1157166"/>
                  <a:pt x="3565690" y="1044104"/>
                  <a:pt x="3545973" y="842841"/>
                </a:cubicBezTo>
                <a:lnTo>
                  <a:pt x="4281684" y="842841"/>
                </a:lnTo>
                <a:cubicBezTo>
                  <a:pt x="4283122" y="828534"/>
                  <a:pt x="4283722" y="814161"/>
                  <a:pt x="4283494" y="799788"/>
                </a:cubicBezTo>
                <a:cubicBezTo>
                  <a:pt x="4283017" y="527373"/>
                  <a:pt x="4125093" y="308393"/>
                  <a:pt x="3850582" y="308393"/>
                </a:cubicBezTo>
                <a:close/>
                <a:moveTo>
                  <a:pt x="3545782" y="740828"/>
                </a:moveTo>
                <a:cubicBezTo>
                  <a:pt x="3563689" y="559853"/>
                  <a:pt x="3685704" y="425074"/>
                  <a:pt x="3847249" y="425074"/>
                </a:cubicBezTo>
                <a:cubicBezTo>
                  <a:pt x="4032033" y="425074"/>
                  <a:pt x="4128998" y="572140"/>
                  <a:pt x="4143286" y="740828"/>
                </a:cubicBezTo>
                <a:close/>
                <a:moveTo>
                  <a:pt x="4537811" y="1256035"/>
                </a:moveTo>
                <a:lnTo>
                  <a:pt x="4675924" y="1256035"/>
                </a:lnTo>
                <a:lnTo>
                  <a:pt x="4675924" y="-217"/>
                </a:lnTo>
                <a:lnTo>
                  <a:pt x="4537811" y="-217"/>
                </a:lnTo>
                <a:close/>
                <a:moveTo>
                  <a:pt x="5009679" y="1256035"/>
                </a:moveTo>
                <a:lnTo>
                  <a:pt x="5147887" y="1256035"/>
                </a:lnTo>
                <a:lnTo>
                  <a:pt x="5147887" y="294010"/>
                </a:lnTo>
                <a:lnTo>
                  <a:pt x="5009679" y="294010"/>
                </a:lnTo>
                <a:close/>
                <a:moveTo>
                  <a:pt x="5808160" y="726731"/>
                </a:moveTo>
                <a:cubicBezTo>
                  <a:pt x="5684335" y="688631"/>
                  <a:pt x="5569559" y="654913"/>
                  <a:pt x="5569559" y="566997"/>
                </a:cubicBezTo>
                <a:lnTo>
                  <a:pt x="5569559" y="563377"/>
                </a:lnTo>
                <a:cubicBezTo>
                  <a:pt x="5569559" y="486225"/>
                  <a:pt x="5639472" y="428789"/>
                  <a:pt x="5748915" y="428789"/>
                </a:cubicBezTo>
                <a:cubicBezTo>
                  <a:pt x="5838640" y="428789"/>
                  <a:pt x="5937319" y="462889"/>
                  <a:pt x="6023520" y="518514"/>
                </a:cubicBezTo>
                <a:lnTo>
                  <a:pt x="6086290" y="414501"/>
                </a:lnTo>
                <a:cubicBezTo>
                  <a:pt x="5986926" y="349884"/>
                  <a:pt x="5871425" y="314441"/>
                  <a:pt x="5752915" y="312203"/>
                </a:cubicBezTo>
                <a:cubicBezTo>
                  <a:pt x="5569940" y="312203"/>
                  <a:pt x="5437161" y="418026"/>
                  <a:pt x="5437161" y="577760"/>
                </a:cubicBezTo>
                <a:lnTo>
                  <a:pt x="5437161" y="581380"/>
                </a:lnTo>
                <a:cubicBezTo>
                  <a:pt x="5437161" y="751782"/>
                  <a:pt x="5598610" y="802074"/>
                  <a:pt x="5743962" y="843317"/>
                </a:cubicBezTo>
                <a:cubicBezTo>
                  <a:pt x="5865977" y="877416"/>
                  <a:pt x="5975419" y="913326"/>
                  <a:pt x="5975419" y="1006575"/>
                </a:cubicBezTo>
                <a:lnTo>
                  <a:pt x="5975419" y="1010195"/>
                </a:lnTo>
                <a:cubicBezTo>
                  <a:pt x="5975419" y="1099920"/>
                  <a:pt x="5894648" y="1157356"/>
                  <a:pt x="5783396" y="1157356"/>
                </a:cubicBezTo>
                <a:cubicBezTo>
                  <a:pt x="5673953" y="1157356"/>
                  <a:pt x="5562701" y="1114303"/>
                  <a:pt x="5462212" y="1038865"/>
                </a:cubicBezTo>
                <a:lnTo>
                  <a:pt x="5392299" y="1137640"/>
                </a:lnTo>
                <a:cubicBezTo>
                  <a:pt x="5501951" y="1223803"/>
                  <a:pt x="5636815" y="1271685"/>
                  <a:pt x="5776252" y="1273942"/>
                </a:cubicBezTo>
                <a:cubicBezTo>
                  <a:pt x="5961036" y="1273942"/>
                  <a:pt x="6106388" y="1171644"/>
                  <a:pt x="6106388" y="995812"/>
                </a:cubicBezTo>
                <a:lnTo>
                  <a:pt x="6106388" y="992288"/>
                </a:lnTo>
                <a:cubicBezTo>
                  <a:pt x="6106007" y="825219"/>
                  <a:pt x="5951702" y="769593"/>
                  <a:pt x="5808160" y="726540"/>
                </a:cubicBezTo>
                <a:close/>
                <a:moveTo>
                  <a:pt x="5009679" y="138181"/>
                </a:moveTo>
                <a:lnTo>
                  <a:pt x="5147887" y="138181"/>
                </a:lnTo>
                <a:lnTo>
                  <a:pt x="5147887" y="-217"/>
                </a:lnTo>
                <a:lnTo>
                  <a:pt x="5009679" y="-21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en-US" sz="1800" noProof="0">
              <a:solidFill>
                <a:schemeClr val="bg1"/>
              </a:solidFill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06F6DD1-6F2B-4BC7-8D94-D16ACE49058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-737348" y="-720000"/>
            <a:ext cx="12388464" cy="7487252"/>
            <a:chOff x="-737252" y="-737252"/>
            <a:chExt cx="12386851" cy="7487252"/>
          </a:xfrm>
        </p:grpSpPr>
        <p:grpSp>
          <p:nvGrpSpPr>
            <p:cNvPr id="26" name="Hilfslinie">
              <a:extLst>
                <a:ext uri="{FF2B5EF4-FFF2-40B4-BE49-F238E27FC236}">
                  <a16:creationId xmlns:a16="http://schemas.microsoft.com/office/drawing/2014/main" id="{4D39D6D3-4146-4525-9CC2-AE6CAFD2E1F3}"/>
                </a:ext>
              </a:extLst>
            </p:cNvPr>
            <p:cNvGrpSpPr/>
            <p:nvPr userDrawn="1"/>
          </p:nvGrpSpPr>
          <p:grpSpPr bwMode="gray">
            <a:xfrm>
              <a:off x="540810" y="-737252"/>
              <a:ext cx="970351" cy="720000"/>
              <a:chOff x="540000" y="-737252"/>
              <a:chExt cx="970351" cy="720000"/>
            </a:xfrm>
          </p:grpSpPr>
          <p:cxnSp>
            <p:nvCxnSpPr>
              <p:cNvPr id="55" name="Line">
                <a:extLst>
                  <a:ext uri="{FF2B5EF4-FFF2-40B4-BE49-F238E27FC236}">
                    <a16:creationId xmlns:a16="http://schemas.microsoft.com/office/drawing/2014/main" id="{193782E1-2CEA-425B-AA9E-BC651519B518}"/>
                  </a:ext>
                </a:extLst>
              </p:cNvPr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6" name="Text">
                <a:extLst>
                  <a:ext uri="{FF2B5EF4-FFF2-40B4-BE49-F238E27FC236}">
                    <a16:creationId xmlns:a16="http://schemas.microsoft.com/office/drawing/2014/main" id="{43EAF8DA-A84A-43BD-9D02-E83539566F7B}"/>
                  </a:ext>
                </a:extLst>
              </p:cNvPr>
              <p:cNvSpPr txBox="1"/>
              <p:nvPr userDrawn="1"/>
            </p:nvSpPr>
            <p:spPr bwMode="gray">
              <a:xfrm>
                <a:off x="540000" y="-720000"/>
                <a:ext cx="970351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28" name="Hilfslinie">
              <a:extLst>
                <a:ext uri="{FF2B5EF4-FFF2-40B4-BE49-F238E27FC236}">
                  <a16:creationId xmlns:a16="http://schemas.microsoft.com/office/drawing/2014/main" id="{FE26AEA3-5451-4AE0-B65B-17AE3581E746}"/>
                </a:ext>
              </a:extLst>
            </p:cNvPr>
            <p:cNvGrpSpPr/>
            <p:nvPr userDrawn="1"/>
          </p:nvGrpSpPr>
          <p:grpSpPr bwMode="gray">
            <a:xfrm>
              <a:off x="10749599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53" name="Line">
                <a:extLst>
                  <a:ext uri="{FF2B5EF4-FFF2-40B4-BE49-F238E27FC236}">
                    <a16:creationId xmlns:a16="http://schemas.microsoft.com/office/drawing/2014/main" id="{E80B6D82-C6CA-4185-B301-4076AE76D2F1}"/>
                  </a:ext>
                </a:extLst>
              </p:cNvPr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Text">
                <a:extLst>
                  <a:ext uri="{FF2B5EF4-FFF2-40B4-BE49-F238E27FC236}">
                    <a16:creationId xmlns:a16="http://schemas.microsoft.com/office/drawing/2014/main" id="{D35329AE-DDB3-4F4A-AE78-7D9995A6C997}"/>
                  </a:ext>
                </a:extLst>
              </p:cNvPr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15,43</a:t>
                </a:r>
              </a:p>
            </p:txBody>
          </p:sp>
        </p:grpSp>
        <p:grpSp>
          <p:nvGrpSpPr>
            <p:cNvPr id="44" name="Hilfslinie">
              <a:extLst>
                <a:ext uri="{FF2B5EF4-FFF2-40B4-BE49-F238E27FC236}">
                  <a16:creationId xmlns:a16="http://schemas.microsoft.com/office/drawing/2014/main" id="{E8E096F4-A893-403A-8EBF-DD3F8CE42784}"/>
                </a:ext>
              </a:extLst>
            </p:cNvPr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51" name="Line">
                <a:extLst>
                  <a:ext uri="{FF2B5EF4-FFF2-40B4-BE49-F238E27FC236}">
                    <a16:creationId xmlns:a16="http://schemas.microsoft.com/office/drawing/2014/main" id="{BE1DF758-A406-4B9E-87E2-D7E7DF93F3A2}"/>
                  </a:ext>
                </a:extLst>
              </p:cNvPr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">
                <a:extLst>
                  <a:ext uri="{FF2B5EF4-FFF2-40B4-BE49-F238E27FC236}">
                    <a16:creationId xmlns:a16="http://schemas.microsoft.com/office/drawing/2014/main" id="{AB2697FE-92B5-4599-8EA3-2F8314D21354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 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8,32</a:t>
                </a:r>
              </a:p>
            </p:txBody>
          </p:sp>
        </p:grpSp>
        <p:grpSp>
          <p:nvGrpSpPr>
            <p:cNvPr id="45" name="Hilfslinie">
              <a:extLst>
                <a:ext uri="{FF2B5EF4-FFF2-40B4-BE49-F238E27FC236}">
                  <a16:creationId xmlns:a16="http://schemas.microsoft.com/office/drawing/2014/main" id="{34605866-BDFE-4F2A-B6C1-6DDF8CF0F7FF}"/>
                </a:ext>
              </a:extLst>
            </p:cNvPr>
            <p:cNvGrpSpPr/>
            <p:nvPr userDrawn="1"/>
          </p:nvGrpSpPr>
          <p:grpSpPr bwMode="gray">
            <a:xfrm>
              <a:off x="-737252" y="2070100"/>
              <a:ext cx="737252" cy="540000"/>
              <a:chOff x="-737252" y="1512000"/>
              <a:chExt cx="737252" cy="540000"/>
            </a:xfrm>
          </p:grpSpPr>
          <p:cxnSp>
            <p:nvCxnSpPr>
              <p:cNvPr id="49" name="Line">
                <a:extLst>
                  <a:ext uri="{FF2B5EF4-FFF2-40B4-BE49-F238E27FC236}">
                    <a16:creationId xmlns:a16="http://schemas.microsoft.com/office/drawing/2014/main" id="{42123C13-5C53-4FD9-B97F-29A35DA70851}"/>
                  </a:ext>
                </a:extLst>
              </p:cNvPr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">
                <a:extLst>
                  <a:ext uri="{FF2B5EF4-FFF2-40B4-BE49-F238E27FC236}">
                    <a16:creationId xmlns:a16="http://schemas.microsoft.com/office/drawing/2014/main" id="{46B1E67E-5299-412A-A2C2-2538EAE1E17C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3,74</a:t>
                </a:r>
              </a:p>
            </p:txBody>
          </p:sp>
        </p:grpSp>
        <p:grpSp>
          <p:nvGrpSpPr>
            <p:cNvPr id="46" name="Hilfslinie">
              <a:extLst>
                <a:ext uri="{FF2B5EF4-FFF2-40B4-BE49-F238E27FC236}">
                  <a16:creationId xmlns:a16="http://schemas.microsoft.com/office/drawing/2014/main" id="{3B8B81BC-BE03-4FD0-B85C-5543E6AAE8A5}"/>
                </a:ext>
              </a:extLst>
            </p:cNvPr>
            <p:cNvGrpSpPr/>
            <p:nvPr userDrawn="1"/>
          </p:nvGrpSpPr>
          <p:grpSpPr bwMode="gray">
            <a:xfrm>
              <a:off x="-737252" y="6210000"/>
              <a:ext cx="737252" cy="540000"/>
              <a:chOff x="-737252" y="5810400"/>
              <a:chExt cx="737252" cy="540000"/>
            </a:xfrm>
          </p:grpSpPr>
          <p:cxnSp>
            <p:nvCxnSpPr>
              <p:cNvPr id="47" name="Line">
                <a:extLst>
                  <a:ext uri="{FF2B5EF4-FFF2-40B4-BE49-F238E27FC236}">
                    <a16:creationId xmlns:a16="http://schemas.microsoft.com/office/drawing/2014/main" id="{8219A9F7-9D94-4E63-B07E-B39CDCCBB1A5}"/>
                  </a:ext>
                </a:extLst>
              </p:cNvPr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">
                <a:extLst>
                  <a:ext uri="{FF2B5EF4-FFF2-40B4-BE49-F238E27FC236}">
                    <a16:creationId xmlns:a16="http://schemas.microsoft.com/office/drawing/2014/main" id="{3CB2EF17-FBA7-45D5-9741-2B21826416DF}"/>
                  </a:ext>
                </a:extLst>
              </p:cNvPr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en-US" sz="1200" noProof="0">
                    <a:solidFill>
                      <a:schemeClr val="tx2"/>
                    </a:solidFill>
                  </a:rPr>
                  <a:t>Position Auxiliary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line</a:t>
                </a:r>
                <a:br>
                  <a:rPr lang="en-US" sz="1200" noProof="0">
                    <a:solidFill>
                      <a:schemeClr val="tx2"/>
                    </a:solidFill>
                  </a:rPr>
                </a:br>
                <a:r>
                  <a:rPr lang="en-US" sz="1200" noProof="0">
                    <a:solidFill>
                      <a:schemeClr val="tx2"/>
                    </a:solidFill>
                  </a:rPr>
                  <a:t>7,76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4746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spc="15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57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84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11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Arial" panose="020B0604020202020204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+mn-lt"/>
          <a:ea typeface="+mn-ea"/>
          <a:cs typeface="+mn-cs"/>
        </a:defRPr>
      </a:lvl6pPr>
      <a:lvl7pPr marL="1386000" indent="-27000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Clr>
          <a:schemeClr val="bg1"/>
        </a:buClr>
        <a:buFont typeface="Symbol" panose="05050102010706020507" pitchFamily="18" charset="2"/>
        <a:buChar char="-"/>
        <a:defRPr sz="1600" kern="1200">
          <a:solidFill>
            <a:schemeClr val="bg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2000" b="1" kern="1200">
          <a:solidFill>
            <a:schemeClr val="bg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800" kern="1200" cap="all" baseline="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0">
          <p15:clr>
            <a:srgbClr val="F26B43"/>
          </p15:clr>
        </p15:guide>
        <p15:guide id="2" orient="horz" pos="1311">
          <p15:clr>
            <a:srgbClr val="F26B43"/>
          </p15:clr>
        </p15:guide>
        <p15:guide id="3" pos="339">
          <p15:clr>
            <a:srgbClr val="F26B43"/>
          </p15:clr>
        </p15:guide>
        <p15:guide id="5" orient="horz" pos="3921">
          <p15:clr>
            <a:srgbClr val="F26B43"/>
          </p15:clr>
        </p15:guide>
        <p15:guide id="6" pos="733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237"/>
            <a:ext cx="8534400" cy="47478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29842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bg1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609600" y="6298427"/>
            <a:ext cx="2844800" cy="365125"/>
          </a:xfrm>
          <a:prstGeom prst="rect">
            <a:avLst/>
          </a:prstGeom>
        </p:spPr>
        <p:txBody>
          <a:bodyPr vert="horz" lIns="0" tIns="81280" rIns="162560" bIns="8128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aleway"/>
                <a:ea typeface="+mn-ea"/>
                <a:cs typeface="Raleway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333" b="0" i="0" kern="1200">
                <a:solidFill>
                  <a:schemeClr val="bg1">
                    <a:lumMod val="75000"/>
                  </a:schemeClr>
                </a:solidFill>
                <a:effectLst/>
                <a:latin typeface="+mn-lt"/>
                <a:ea typeface="Arial" charset="0"/>
                <a:cs typeface="Arial" charset="0"/>
              </a:rPr>
              <a:t>©  Novelis</a:t>
            </a:r>
            <a:endParaRPr lang="en-US" sz="1333" i="0">
              <a:solidFill>
                <a:schemeClr val="bg1">
                  <a:lumMod val="75000"/>
                </a:schemeClr>
              </a:solidFill>
              <a:latin typeface="+mn-lt"/>
              <a:ea typeface="Arial" charset="0"/>
              <a:cs typeface="Arial" charset="0"/>
            </a:endParaRPr>
          </a:p>
        </p:txBody>
      </p:sp>
      <p:cxnSp>
        <p:nvCxnSpPr>
          <p:cNvPr id="37" name="Straight Connector 36"/>
          <p:cNvCxnSpPr>
            <a:cxnSpLocks/>
          </p:cNvCxnSpPr>
          <p:nvPr userDrawn="1"/>
        </p:nvCxnSpPr>
        <p:spPr>
          <a:xfrm flipH="1">
            <a:off x="609600" y="849352"/>
            <a:ext cx="10857813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375" y="337226"/>
            <a:ext cx="1666240" cy="3487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3296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</p:sldLayoutIdLst>
  <p:hf sldNum="0" hdr="0" dt="0"/>
  <p:txStyles>
    <p:titleStyle>
      <a:lvl1pPr algn="l" defTabSz="812740" rtl="0" eaLnBrk="1" latinLnBrk="0" hangingPunct="1">
        <a:spcBef>
          <a:spcPct val="0"/>
        </a:spcBef>
        <a:buNone/>
        <a:defRPr sz="2489" b="1" kern="1200" cap="all" baseline="0">
          <a:solidFill>
            <a:schemeClr val="bg1"/>
          </a:solidFill>
          <a:latin typeface="+mj-lt"/>
          <a:ea typeface="Arial" charset="0"/>
          <a:cs typeface="Arial" charset="0"/>
        </a:defRPr>
      </a:lvl1pPr>
    </p:titleStyle>
    <p:bodyStyle>
      <a:lvl1pPr marL="609554" indent="-609554" algn="l" defTabSz="812740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bg1"/>
          </a:solidFill>
          <a:latin typeface="+mn-lt"/>
          <a:ea typeface="Arial" charset="0"/>
          <a:cs typeface="Arial" charset="0"/>
        </a:defRPr>
      </a:lvl1pPr>
      <a:lvl2pPr marL="1320702" indent="-507963" algn="l" defTabSz="812740" rtl="0" eaLnBrk="1" latinLnBrk="0" hangingPunct="1">
        <a:spcBef>
          <a:spcPct val="20000"/>
        </a:spcBef>
        <a:buFont typeface="Arial"/>
        <a:buChar char="–"/>
        <a:defRPr sz="3556" kern="1200">
          <a:solidFill>
            <a:schemeClr val="bg1"/>
          </a:solidFill>
          <a:latin typeface="+mn-lt"/>
          <a:ea typeface="Arial" charset="0"/>
          <a:cs typeface="Arial" charset="0"/>
        </a:defRPr>
      </a:lvl2pPr>
      <a:lvl3pPr marL="2031847" indent="-406369" algn="l" defTabSz="81274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bg1"/>
          </a:solidFill>
          <a:latin typeface="+mn-lt"/>
          <a:ea typeface="Arial" charset="0"/>
          <a:cs typeface="Arial" charset="0"/>
        </a:defRPr>
      </a:lvl3pPr>
      <a:lvl4pPr marL="2844586" indent="-406369" algn="l" defTabSz="812740" rtl="0" eaLnBrk="1" latinLnBrk="0" hangingPunct="1">
        <a:spcBef>
          <a:spcPct val="20000"/>
        </a:spcBef>
        <a:buFont typeface="Arial"/>
        <a:buChar char="–"/>
        <a:defRPr sz="2844" kern="1200">
          <a:solidFill>
            <a:schemeClr val="bg1"/>
          </a:solidFill>
          <a:latin typeface="+mn-lt"/>
          <a:ea typeface="Arial" charset="0"/>
          <a:cs typeface="Arial" charset="0"/>
        </a:defRPr>
      </a:lvl4pPr>
      <a:lvl5pPr marL="3657326" indent="-406369" algn="l" defTabSz="812740" rtl="0" eaLnBrk="1" latinLnBrk="0" hangingPunct="1">
        <a:spcBef>
          <a:spcPct val="20000"/>
        </a:spcBef>
        <a:buFont typeface="Arial"/>
        <a:buChar char="»"/>
        <a:defRPr sz="2844" kern="1200">
          <a:solidFill>
            <a:schemeClr val="bg1"/>
          </a:solidFill>
          <a:latin typeface="+mn-lt"/>
          <a:ea typeface="Arial" charset="0"/>
          <a:cs typeface="Arial" charset="0"/>
        </a:defRPr>
      </a:lvl5pPr>
      <a:lvl6pPr marL="4470064" indent="-406369" algn="l" defTabSz="812740" rtl="0" eaLnBrk="1" latinLnBrk="0" hangingPunct="1">
        <a:spcBef>
          <a:spcPct val="20000"/>
        </a:spcBef>
        <a:buFont typeface="Arial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6pPr>
      <a:lvl7pPr marL="5282804" indent="-406369" algn="l" defTabSz="812740" rtl="0" eaLnBrk="1" latinLnBrk="0" hangingPunct="1">
        <a:spcBef>
          <a:spcPct val="20000"/>
        </a:spcBef>
        <a:buFont typeface="Arial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7pPr>
      <a:lvl8pPr marL="6095542" indent="-406369" algn="l" defTabSz="812740" rtl="0" eaLnBrk="1" latinLnBrk="0" hangingPunct="1">
        <a:spcBef>
          <a:spcPct val="20000"/>
        </a:spcBef>
        <a:buFont typeface="Arial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8pPr>
      <a:lvl9pPr marL="6908282" indent="-406369" algn="l" defTabSz="812740" rtl="0" eaLnBrk="1" latinLnBrk="0" hangingPunct="1">
        <a:spcBef>
          <a:spcPct val="20000"/>
        </a:spcBef>
        <a:buFont typeface="Arial"/>
        <a:buChar char="•"/>
        <a:defRPr sz="35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40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478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218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0956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696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434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174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1913" algn="l" defTabSz="81274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3578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5" r:id="rId15"/>
    <p:sldLayoutId id="2147483776" r:id="rId16"/>
    <p:sldLayoutId id="2147483777" r:id="rId17"/>
  </p:sldLayoutIdLst>
  <p:transition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bg1"/>
          </a:solidFill>
          <a:latin typeface="Calibri Light" panose="020F0302020204030204" pitchFamily="34" charset="0"/>
          <a:ea typeface="+mj-ea"/>
          <a:cs typeface="Calibri Light" panose="020F0302020204030204" pitchFamily="34" charset="0"/>
        </a:defRPr>
      </a:lvl1pPr>
    </p:titleStyle>
    <p:bodyStyle>
      <a:lvl1pPr marL="282575" indent="-28257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24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573088" indent="-2349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20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030288" indent="-230188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1196975" indent="-1746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32">
          <p15:clr>
            <a:srgbClr val="F26B43"/>
          </p15:clr>
        </p15:guide>
        <p15:guide id="3" pos="724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8791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  <p:sldLayoutId id="2147483797" r:id="rId18"/>
    <p:sldLayoutId id="2147483798" r:id="rId19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bg1"/>
          </a:solidFill>
          <a:latin typeface="Calibri Light" panose="020F0302020204030204" pitchFamily="34" charset="0"/>
          <a:ea typeface="+mj-ea"/>
          <a:cs typeface="Calibri Light" panose="020F0302020204030204" pitchFamily="34" charset="0"/>
        </a:defRPr>
      </a:lvl1pPr>
    </p:titleStyle>
    <p:bodyStyle>
      <a:lvl1pPr marL="282575" indent="-282575" algn="l" defTabSz="914400" rtl="0" eaLnBrk="1" latinLnBrk="0" hangingPunct="1">
        <a:lnSpc>
          <a:spcPct val="90000"/>
        </a:lnSpc>
        <a:spcBef>
          <a:spcPts val="1200"/>
        </a:spcBef>
        <a:buFont typeface="Wingdings" panose="05000000000000000000" pitchFamily="2" charset="2"/>
        <a:buChar char="§"/>
        <a:defRPr sz="24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573088" indent="-23495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20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798513" indent="-2254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030288" indent="-230188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1196975" indent="-174625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432">
          <p15:clr>
            <a:srgbClr val="F26B43"/>
          </p15:clr>
        </p15:guide>
        <p15:guide id="3" pos="72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7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8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88.jpe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90.png"/><Relationship Id="rId11" Type="http://schemas.openxmlformats.org/officeDocument/2006/relationships/image" Target="../media/image95.svg"/><Relationship Id="rId5" Type="http://schemas.microsoft.com/office/2007/relationships/hdphoto" Target="../media/hdphoto1.wdp"/><Relationship Id="rId10" Type="http://schemas.openxmlformats.org/officeDocument/2006/relationships/image" Target="../media/image94.png"/><Relationship Id="rId4" Type="http://schemas.openxmlformats.org/officeDocument/2006/relationships/image" Target="../media/image89.png"/><Relationship Id="rId9" Type="http://schemas.openxmlformats.org/officeDocument/2006/relationships/image" Target="../media/image9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98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99.png"/><Relationship Id="rId5" Type="http://schemas.openxmlformats.org/officeDocument/2006/relationships/image" Target="../media/image98.svg"/><Relationship Id="rId4" Type="http://schemas.openxmlformats.org/officeDocument/2006/relationships/image" Target="../media/image9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gif"/><Relationship Id="rId18" Type="http://schemas.openxmlformats.org/officeDocument/2006/relationships/image" Target="../media/image47.png"/><Relationship Id="rId26" Type="http://schemas.openxmlformats.org/officeDocument/2006/relationships/hyperlink" Target="http://www.raytheon.com/" TargetMode="External"/><Relationship Id="rId39" Type="http://schemas.openxmlformats.org/officeDocument/2006/relationships/image" Target="../media/image67.png"/><Relationship Id="rId21" Type="http://schemas.openxmlformats.org/officeDocument/2006/relationships/image" Target="../media/image50.png"/><Relationship Id="rId34" Type="http://schemas.openxmlformats.org/officeDocument/2006/relationships/image" Target="../media/image62.png"/><Relationship Id="rId42" Type="http://schemas.openxmlformats.org/officeDocument/2006/relationships/image" Target="../media/image70.png"/><Relationship Id="rId47" Type="http://schemas.openxmlformats.org/officeDocument/2006/relationships/image" Target="../media/image75.png"/><Relationship Id="rId50" Type="http://schemas.openxmlformats.org/officeDocument/2006/relationships/image" Target="../media/image78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6" Type="http://schemas.openxmlformats.org/officeDocument/2006/relationships/hyperlink" Target="http://images.google.com/imgres?imgurl=http://www.admire.be/pages/references/References/UnileverLogo.jpg&amp;imgrefurl=http://www.admire.be/pages/references/references.php&amp;usg=__JW3nKBQ75y6x7YQ0FX9mHfFcGAg=&amp;h=376&amp;w=360&amp;sz=87&amp;hl=en&amp;start=1&amp;um=1&amp;itbs=1&amp;tbnid=_cFnC7ZhozSOnM:&amp;tbnh=122&amp;tbnw=117&amp;prev=/images?q=unilever+logo&amp;um=1&amp;hl=en&amp;safe=active&amp;tbs=isch:1" TargetMode="External"/><Relationship Id="rId29" Type="http://schemas.openxmlformats.org/officeDocument/2006/relationships/image" Target="../media/image57.jpeg"/><Relationship Id="rId11" Type="http://schemas.openxmlformats.org/officeDocument/2006/relationships/image" Target="../media/image42.png"/><Relationship Id="rId24" Type="http://schemas.openxmlformats.org/officeDocument/2006/relationships/image" Target="../media/image53.png"/><Relationship Id="rId32" Type="http://schemas.openxmlformats.org/officeDocument/2006/relationships/image" Target="../media/image60.png"/><Relationship Id="rId37" Type="http://schemas.openxmlformats.org/officeDocument/2006/relationships/image" Target="../media/image65.png"/><Relationship Id="rId40" Type="http://schemas.openxmlformats.org/officeDocument/2006/relationships/image" Target="../media/image68.png"/><Relationship Id="rId45" Type="http://schemas.openxmlformats.org/officeDocument/2006/relationships/image" Target="../media/image73.png"/><Relationship Id="rId5" Type="http://schemas.openxmlformats.org/officeDocument/2006/relationships/image" Target="../media/image36.png"/><Relationship Id="rId15" Type="http://schemas.openxmlformats.org/officeDocument/2006/relationships/image" Target="../media/image45.jpeg"/><Relationship Id="rId23" Type="http://schemas.openxmlformats.org/officeDocument/2006/relationships/image" Target="../media/image52.png"/><Relationship Id="rId28" Type="http://schemas.openxmlformats.org/officeDocument/2006/relationships/image" Target="../media/image56.png"/><Relationship Id="rId36" Type="http://schemas.openxmlformats.org/officeDocument/2006/relationships/image" Target="../media/image64.png"/><Relationship Id="rId49" Type="http://schemas.openxmlformats.org/officeDocument/2006/relationships/image" Target="../media/image77.jpeg"/><Relationship Id="rId10" Type="http://schemas.openxmlformats.org/officeDocument/2006/relationships/image" Target="../media/image41.png"/><Relationship Id="rId19" Type="http://schemas.openxmlformats.org/officeDocument/2006/relationships/image" Target="../media/image48.png"/><Relationship Id="rId31" Type="http://schemas.openxmlformats.org/officeDocument/2006/relationships/image" Target="../media/image59.png"/><Relationship Id="rId44" Type="http://schemas.openxmlformats.org/officeDocument/2006/relationships/image" Target="../media/image72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Relationship Id="rId14" Type="http://schemas.openxmlformats.org/officeDocument/2006/relationships/hyperlink" Target="http://images.google.com/imgres?imgurl=http://students.cec.wustl.edu/~swe/2009%20Conference/Logos/logo_l_oreal.jpg&amp;imgrefurl=http://students.cec.wustl.edu/~swe/2009%20Conference/Sponsorship.htm&amp;usg=__9yCE2boNKKFtfDNCinYLpG5hifU=&amp;h=472&amp;w=2008&amp;sz=75&amp;hl=en&amp;start=1&amp;um=1&amp;itbs=1&amp;tbnid=JgekR3nM68kRRM:&amp;tbnh=35&amp;tbnw=150&amp;prev=/images?q=l'oreal+logo&amp;um=1&amp;hl=en&amp;safe=active&amp;sa=N&amp;tbs=isch:1" TargetMode="External"/><Relationship Id="rId22" Type="http://schemas.openxmlformats.org/officeDocument/2006/relationships/image" Target="../media/image51.png"/><Relationship Id="rId27" Type="http://schemas.openxmlformats.org/officeDocument/2006/relationships/image" Target="../media/image55.gif"/><Relationship Id="rId30" Type="http://schemas.openxmlformats.org/officeDocument/2006/relationships/image" Target="../media/image58.png"/><Relationship Id="rId35" Type="http://schemas.openxmlformats.org/officeDocument/2006/relationships/image" Target="../media/image63.png"/><Relationship Id="rId43" Type="http://schemas.openxmlformats.org/officeDocument/2006/relationships/image" Target="../media/image71.png"/><Relationship Id="rId48" Type="http://schemas.openxmlformats.org/officeDocument/2006/relationships/image" Target="../media/image76.png"/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12" Type="http://schemas.openxmlformats.org/officeDocument/2006/relationships/image" Target="../media/image43.png"/><Relationship Id="rId17" Type="http://schemas.openxmlformats.org/officeDocument/2006/relationships/image" Target="../media/image46.jpeg"/><Relationship Id="rId25" Type="http://schemas.openxmlformats.org/officeDocument/2006/relationships/image" Target="../media/image54.png"/><Relationship Id="rId33" Type="http://schemas.openxmlformats.org/officeDocument/2006/relationships/image" Target="../media/image61.png"/><Relationship Id="rId38" Type="http://schemas.openxmlformats.org/officeDocument/2006/relationships/image" Target="../media/image66.png"/><Relationship Id="rId46" Type="http://schemas.openxmlformats.org/officeDocument/2006/relationships/image" Target="../media/image74.png"/><Relationship Id="rId20" Type="http://schemas.openxmlformats.org/officeDocument/2006/relationships/image" Target="../media/image49.png"/><Relationship Id="rId41" Type="http://schemas.openxmlformats.org/officeDocument/2006/relationships/image" Target="../media/image69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82.png"/><Relationship Id="rId5" Type="http://schemas.openxmlformats.org/officeDocument/2006/relationships/image" Target="../media/image81.jpeg"/><Relationship Id="rId4" Type="http://schemas.openxmlformats.org/officeDocument/2006/relationships/image" Target="../media/image8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D90BADBF-DBE3-41AB-07E3-7ADC461089C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7802" b="7802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8E08D7-B558-F1BD-B541-C21D9D6DB67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-2" y="0"/>
            <a:ext cx="6869798" cy="6858000"/>
          </a:xfrm>
        </p:spPr>
        <p:txBody>
          <a:bodyPr/>
          <a:lstStyle/>
          <a:p>
            <a:r>
              <a:rPr lang="en-US"/>
              <a:t>Closing the loop </a:t>
            </a:r>
            <a:br>
              <a:rPr lang="en-US"/>
            </a:br>
            <a:r>
              <a:rPr lang="en-US"/>
              <a:t>for aluminium beverage ca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977121-4920-03F5-D027-29A8EA84F9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F66147-59B3-E4A5-165B-665B9AFB40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171" y="4270580"/>
            <a:ext cx="11104948" cy="1368000"/>
          </a:xfrm>
        </p:spPr>
        <p:txBody>
          <a:bodyPr/>
          <a:lstStyle/>
          <a:p>
            <a:r>
              <a:rPr lang="en-US" sz="2000"/>
              <a:t>Claudia Bierth, European Public Affairs &amp; Sustainability Manager, </a:t>
            </a:r>
            <a:br>
              <a:rPr lang="en-US" sz="2000"/>
            </a:br>
            <a:r>
              <a:rPr lang="en-US" sz="2000"/>
              <a:t>Ball Beverage Packaging EMEA</a:t>
            </a:r>
          </a:p>
          <a:p>
            <a:r>
              <a:rPr lang="en-US" sz="2000"/>
              <a:t>Alexander Kuzan, Vice President Can, Novelis Europe</a:t>
            </a:r>
          </a:p>
          <a:p>
            <a:endParaRPr lang="en-US" sz="200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72158E3-C63A-2FAC-39BE-D8C7E27785D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6171" y="6239735"/>
            <a:ext cx="4752619" cy="216000"/>
          </a:xfrm>
        </p:spPr>
        <p:txBody>
          <a:bodyPr/>
          <a:lstStyle/>
          <a:p>
            <a:r>
              <a:rPr lang="en-US"/>
              <a:t>Dusseldorf, 28</a:t>
            </a:r>
            <a:r>
              <a:rPr lang="en-US" baseline="30000"/>
              <a:t>th</a:t>
            </a:r>
            <a:r>
              <a:rPr lang="en-US"/>
              <a:t> September 2022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119E1A8F-6A62-31F8-EB54-8829A4A5D2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28856" y="5900455"/>
            <a:ext cx="1916973" cy="400116"/>
          </a:xfrm>
        </p:spPr>
        <p:txBody>
          <a:bodyPr/>
          <a:lstStyle/>
          <a:p>
            <a:endParaRPr lang="en-US"/>
          </a:p>
        </p:txBody>
      </p: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D3590656-759C-B3A3-4300-70E47FD15AA1}"/>
              </a:ext>
            </a:extLst>
          </p:cNvPr>
          <p:cNvCxnSpPr>
            <a:cxnSpLocks/>
          </p:cNvCxnSpPr>
          <p:nvPr/>
        </p:nvCxnSpPr>
        <p:spPr>
          <a:xfrm flipV="1">
            <a:off x="9395598" y="5615239"/>
            <a:ext cx="0" cy="970549"/>
          </a:xfrm>
          <a:prstGeom prst="line">
            <a:avLst/>
          </a:prstGeom>
          <a:ln w="1270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33D1393F-F5B1-49D5-9B9A-AE544512AB08">
            <a:extLst>
              <a:ext uri="{FF2B5EF4-FFF2-40B4-BE49-F238E27FC236}">
                <a16:creationId xmlns:a16="http://schemas.microsoft.com/office/drawing/2014/main" id="{54F464E4-E5CA-479E-8543-12D7F91FC7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860" y="5754719"/>
            <a:ext cx="710443" cy="71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0077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2834F8-6378-4037-BFF8-D5CC3527FA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Alu Beverage Can Market </a:t>
            </a:r>
            <a:r>
              <a:rPr lang="de-DE" dirty="0" err="1"/>
              <a:t>keeps</a:t>
            </a:r>
            <a:r>
              <a:rPr lang="de-DE" dirty="0"/>
              <a:t> </a:t>
            </a:r>
            <a:r>
              <a:rPr lang="de-DE" dirty="0" err="1"/>
              <a:t>Growing</a:t>
            </a:r>
            <a:r>
              <a:rPr lang="de-DE" dirty="0"/>
              <a:t> - 2022-2027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86C2090-1418-4117-B4D5-ED00B8C990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8739" y="1513114"/>
            <a:ext cx="4982565" cy="4230311"/>
          </a:xfrm>
        </p:spPr>
        <p:txBody>
          <a:bodyPr/>
          <a:lstStyle/>
          <a:p>
            <a:pPr marR="0" algn="l">
              <a:buClr>
                <a:srgbClr val="0066EE"/>
              </a:buClr>
            </a:pPr>
            <a:r>
              <a:rPr lang="de-DE" sz="1800" b="0" i="0" u="none" strike="noStrike" baseline="0" dirty="0"/>
              <a:t>~4-6% </a:t>
            </a:r>
            <a:r>
              <a:rPr lang="de-DE" sz="1800" b="0" i="0" u="none" strike="noStrike" baseline="0" dirty="0" err="1"/>
              <a:t>volume</a:t>
            </a:r>
            <a:r>
              <a:rPr lang="de-DE" sz="1800" b="0" i="0" u="none" strike="noStrike" baseline="0" dirty="0"/>
              <a:t> </a:t>
            </a:r>
            <a:r>
              <a:rPr lang="de-DE" sz="1800" b="0" i="0" u="none" strike="noStrike" baseline="0" dirty="0" err="1"/>
              <a:t>growth</a:t>
            </a:r>
            <a:r>
              <a:rPr lang="de-DE" sz="1800" b="0" i="0" u="none" strike="noStrike" baseline="0" dirty="0"/>
              <a:t>*</a:t>
            </a:r>
          </a:p>
          <a:p>
            <a:pPr marR="0" algn="l">
              <a:buClr>
                <a:srgbClr val="0066EE"/>
              </a:buClr>
            </a:pPr>
            <a:r>
              <a:rPr lang="en-US" sz="1800" dirty="0"/>
              <a:t>Package mix shift to aluminum cans versus other substrates</a:t>
            </a:r>
          </a:p>
          <a:p>
            <a:pPr marR="0" algn="l">
              <a:buClr>
                <a:srgbClr val="0066EE"/>
              </a:buClr>
            </a:pPr>
            <a:r>
              <a:rPr lang="en-US" sz="1800" dirty="0"/>
              <a:t>Customers adding 130 can filling lines (2020-2024)</a:t>
            </a:r>
          </a:p>
          <a:p>
            <a:pPr marR="0" algn="l">
              <a:buClr>
                <a:srgbClr val="0066EE"/>
              </a:buClr>
            </a:pPr>
            <a:r>
              <a:rPr lang="en-US" sz="1800" dirty="0"/>
              <a:t>New product launches in core categories </a:t>
            </a:r>
          </a:p>
          <a:p>
            <a:pPr marR="0" algn="l">
              <a:buClr>
                <a:srgbClr val="0066EE"/>
              </a:buClr>
            </a:pPr>
            <a:r>
              <a:rPr lang="en-US" sz="1800" dirty="0"/>
              <a:t>Ongoing favorable mix shift in carbonated soft drinks</a:t>
            </a:r>
            <a:endParaRPr lang="de-DE" sz="1800" dirty="0"/>
          </a:p>
          <a:p>
            <a:pPr marR="0" algn="l">
              <a:buClr>
                <a:srgbClr val="0066EE"/>
              </a:buClr>
            </a:pPr>
            <a:r>
              <a:rPr lang="de-DE" sz="1800" dirty="0" err="1"/>
              <a:t>Advanced</a:t>
            </a:r>
            <a:r>
              <a:rPr lang="de-DE" sz="1800" dirty="0"/>
              <a:t> </a:t>
            </a:r>
            <a:r>
              <a:rPr lang="de-DE" sz="1800" dirty="0" err="1"/>
              <a:t>sustainability</a:t>
            </a:r>
            <a:r>
              <a:rPr lang="de-DE" sz="1800" dirty="0"/>
              <a:t> &amp; </a:t>
            </a:r>
            <a:r>
              <a:rPr lang="de-DE" sz="1800" dirty="0" err="1"/>
              <a:t>packaging</a:t>
            </a:r>
            <a:r>
              <a:rPr lang="de-DE" sz="1800" dirty="0"/>
              <a:t> </a:t>
            </a:r>
            <a:r>
              <a:rPr lang="de-DE" sz="1800" dirty="0" err="1"/>
              <a:t>policies</a:t>
            </a:r>
            <a:endParaRPr lang="de-DE" sz="1800" dirty="0"/>
          </a:p>
          <a:p>
            <a:pPr marR="0" algn="l">
              <a:buClr>
                <a:srgbClr val="0066EE"/>
              </a:buClr>
            </a:pPr>
            <a:r>
              <a:rPr lang="en-US" sz="1800" dirty="0"/>
              <a:t>Continued strength in energy drinks and carbonated soft drinks categories</a:t>
            </a:r>
          </a:p>
          <a:p>
            <a:pPr marR="0" algn="l">
              <a:buClr>
                <a:srgbClr val="0066EE"/>
              </a:buClr>
            </a:pPr>
            <a:r>
              <a:rPr lang="en-US" sz="1800" dirty="0"/>
              <a:t>Cans resilient in current economic climate</a:t>
            </a:r>
          </a:p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6F40F04-D482-44C9-AF0C-0A485F2689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3396" y="1413695"/>
            <a:ext cx="4076031" cy="5242484"/>
          </a:xfrm>
          <a:prstGeom prst="rect">
            <a:avLst/>
          </a:prstGeom>
        </p:spPr>
      </p:pic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59C475D2-3737-4255-99E0-683078A834C3}"/>
              </a:ext>
            </a:extLst>
          </p:cNvPr>
          <p:cNvSpPr txBox="1">
            <a:spLocks/>
          </p:cNvSpPr>
          <p:nvPr/>
        </p:nvSpPr>
        <p:spPr>
          <a:xfrm>
            <a:off x="1217963" y="6466145"/>
            <a:ext cx="6201682" cy="18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26695" algn="l"/>
                <a:tab pos="457200" algn="l"/>
              </a:tabLst>
              <a:defRPr kumimoji="0" sz="800" b="1" i="0" u="none" strike="noStrike" cap="none" spc="0" normalizeH="0" baseline="0">
                <a:ln>
                  <a:noFill/>
                </a:ln>
                <a:solidFill>
                  <a:srgbClr val="0078FF"/>
                </a:solidFill>
                <a:effectLst/>
                <a:uLnTx/>
                <a:uFillTx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26695" algn="l"/>
                <a:tab pos="457200" algn="l"/>
              </a:tabLst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-Light"/>
                <a:cs typeface="Calibri Light" panose="020F0302020204030204" pitchFamily="34" charset="0"/>
              </a:rPr>
              <a:t>*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-Light"/>
                <a:cs typeface="Calibri Light" panose="020F0302020204030204" pitchFamily="34" charset="0"/>
              </a:rPr>
              <a:t>Given current macro environment, near-term volumes may be low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CF7C9AD-2176-44ED-981E-083703F32FBE}"/>
              </a:ext>
            </a:extLst>
          </p:cNvPr>
          <p:cNvSpPr txBox="1"/>
          <p:nvPr/>
        </p:nvSpPr>
        <p:spPr>
          <a:xfrm>
            <a:off x="11543731" y="6357581"/>
            <a:ext cx="37531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1000" b="1" dirty="0">
                <a:latin typeface="Arial"/>
                <a:cs typeface="Arial"/>
              </a:rPr>
              <a:t>9</a:t>
            </a:r>
            <a:endParaRPr lang="en-US" sz="10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461426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B8DA6E-3DC7-4138-82A5-2E7B2F9D02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otential European Beverage Can Carbon Footprint reduction Pathway (2015-2030, cut-off Approach)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3BCFF4E-A475-DD4F-A974-C66EF7F171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955406"/>
            <a:ext cx="12192000" cy="5715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60913E9-FA60-BDE9-26D5-926C58F17058}"/>
              </a:ext>
            </a:extLst>
          </p:cNvPr>
          <p:cNvSpPr txBox="1"/>
          <p:nvPr/>
        </p:nvSpPr>
        <p:spPr>
          <a:xfrm>
            <a:off x="11543731" y="6357581"/>
            <a:ext cx="37531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b="1" dirty="0">
                <a:latin typeface="Arial"/>
                <a:cs typeface="Arial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414105686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23209CC5-206E-E841-B7B3-F0DF3571AEE5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7779" y="2503381"/>
            <a:ext cx="3805801" cy="39646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E77C5E3-B6CA-4D0E-84A5-0D548ADA8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th closed-loop recycling, materials are recycled back to the same application, and this could be done for multiple cycles </a:t>
            </a:r>
          </a:p>
        </p:txBody>
      </p:sp>
      <p:pic>
        <p:nvPicPr>
          <p:cNvPr id="45" name="Imagen 6">
            <a:extLst>
              <a:ext uri="{FF2B5EF4-FFF2-40B4-BE49-F238E27FC236}">
                <a16:creationId xmlns:a16="http://schemas.microsoft.com/office/drawing/2014/main" id="{56F6B756-F289-40C1-9CC6-63A28E3DD0A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19"/>
          <a:stretch/>
        </p:blipFill>
        <p:spPr>
          <a:xfrm>
            <a:off x="6122064" y="1864237"/>
            <a:ext cx="5709989" cy="3656423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FEF9075F-2EEC-4085-B5CB-90D83284C171}"/>
              </a:ext>
            </a:extLst>
          </p:cNvPr>
          <p:cNvSpPr txBox="1"/>
          <p:nvPr/>
        </p:nvSpPr>
        <p:spPr>
          <a:xfrm rot="16200000">
            <a:off x="4151988" y="3339155"/>
            <a:ext cx="3982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rgbClr val="A5A5A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BER OF PACKAGING UNITS MADE OF RECYCLED MATERIALS BEFORE THE MATERIAL IS DEPLETED</a:t>
            </a:r>
            <a:endParaRPr lang="en-GB" sz="1400">
              <a:solidFill>
                <a:srgbClr val="A5A5A5"/>
              </a:solidFill>
            </a:endParaRPr>
          </a:p>
        </p:txBody>
      </p:sp>
      <p:sp>
        <p:nvSpPr>
          <p:cNvPr id="47" name="TextBox 2">
            <a:extLst>
              <a:ext uri="{FF2B5EF4-FFF2-40B4-BE49-F238E27FC236}">
                <a16:creationId xmlns:a16="http://schemas.microsoft.com/office/drawing/2014/main" id="{EFEDCCC0-48DB-4E19-B02D-8615B6711D97}"/>
              </a:ext>
            </a:extLst>
          </p:cNvPr>
          <p:cNvSpPr txBox="1"/>
          <p:nvPr/>
        </p:nvSpPr>
        <p:spPr>
          <a:xfrm>
            <a:off x="6616593" y="5525816"/>
            <a:ext cx="16871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rgbClr val="A5A5A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YCLING RATE</a:t>
            </a:r>
            <a:endParaRPr lang="en-GB" sz="1400">
              <a:solidFill>
                <a:srgbClr val="A5A5A5"/>
              </a:solidFill>
            </a:endParaRPr>
          </a:p>
        </p:txBody>
      </p:sp>
      <p:sp>
        <p:nvSpPr>
          <p:cNvPr id="48" name="Rectángulo 15">
            <a:extLst>
              <a:ext uri="{FF2B5EF4-FFF2-40B4-BE49-F238E27FC236}">
                <a16:creationId xmlns:a16="http://schemas.microsoft.com/office/drawing/2014/main" id="{849CA9BB-97D3-49A3-A858-457FB16C4C60}"/>
              </a:ext>
            </a:extLst>
          </p:cNvPr>
          <p:cNvSpPr/>
          <p:nvPr/>
        </p:nvSpPr>
        <p:spPr>
          <a:xfrm>
            <a:off x="10809913" y="5284975"/>
            <a:ext cx="439838" cy="191102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5877825-FFCA-4DBA-90A2-2D55B76BADB5}"/>
              </a:ext>
            </a:extLst>
          </p:cNvPr>
          <p:cNvGrpSpPr/>
          <p:nvPr/>
        </p:nvGrpSpPr>
        <p:grpSpPr>
          <a:xfrm>
            <a:off x="112626" y="4235789"/>
            <a:ext cx="1921450" cy="378126"/>
            <a:chOff x="162506" y="3931208"/>
            <a:chExt cx="1921450" cy="378126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03F3A69-B25F-452C-9090-4646DABC312B}"/>
                </a:ext>
              </a:extLst>
            </p:cNvPr>
            <p:cNvSpPr/>
            <p:nvPr/>
          </p:nvSpPr>
          <p:spPr>
            <a:xfrm rot="16200000">
              <a:off x="889136" y="3204578"/>
              <a:ext cx="378126" cy="18313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00"/>
            </a:p>
          </p:txBody>
        </p:sp>
        <p:sp>
          <p:nvSpPr>
            <p:cNvPr id="55" name="CuadroTexto 19">
              <a:extLst>
                <a:ext uri="{FF2B5EF4-FFF2-40B4-BE49-F238E27FC236}">
                  <a16:creationId xmlns:a16="http://schemas.microsoft.com/office/drawing/2014/main" id="{938F7A44-8D6E-4F1C-BF14-2C2A6DA7F931}"/>
                </a:ext>
              </a:extLst>
            </p:cNvPr>
            <p:cNvSpPr txBox="1"/>
            <p:nvPr/>
          </p:nvSpPr>
          <p:spPr>
            <a:xfrm>
              <a:off x="227212" y="4016214"/>
              <a:ext cx="1856744" cy="199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900"/>
                </a:lnSpc>
              </a:pPr>
              <a:r>
                <a:rPr lang="es-ES" sz="600"/>
                <a:t>+0.9+0.8+0.7+0.7+0.6+0.5+0.5+0.4+0.4+0.3+3.1</a:t>
              </a: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11882F19-2046-4BF0-9B31-53E4055F0AB7}"/>
              </a:ext>
            </a:extLst>
          </p:cNvPr>
          <p:cNvSpPr txBox="1"/>
          <p:nvPr/>
        </p:nvSpPr>
        <p:spPr>
          <a:xfrm>
            <a:off x="214725" y="1260380"/>
            <a:ext cx="112607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UMBER OF PACKAGING UNITS THAT CAN BE MADE OF RECYCLED MATERIALS BEFORE THE MATERIAL IS DEPLETED</a:t>
            </a:r>
            <a:endParaRPr lang="en-GB" sz="1600" b="1" dirty="0"/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F56F040-6A3D-41AE-93E6-E2A8A5BE3822}"/>
              </a:ext>
            </a:extLst>
          </p:cNvPr>
          <p:cNvCxnSpPr>
            <a:cxnSpLocks/>
            <a:stCxn id="48" idx="2"/>
          </p:cNvCxnSpPr>
          <p:nvPr/>
        </p:nvCxnSpPr>
        <p:spPr>
          <a:xfrm>
            <a:off x="11029832" y="5476077"/>
            <a:ext cx="0" cy="991917"/>
          </a:xfrm>
          <a:prstGeom prst="line">
            <a:avLst/>
          </a:prstGeom>
          <a:ln w="857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uadroTexto 17">
            <a:extLst>
              <a:ext uri="{FF2B5EF4-FFF2-40B4-BE49-F238E27FC236}">
                <a16:creationId xmlns:a16="http://schemas.microsoft.com/office/drawing/2014/main" id="{1B89413D-8114-44BA-AADA-00DDE40AF3A8}"/>
              </a:ext>
            </a:extLst>
          </p:cNvPr>
          <p:cNvSpPr txBox="1"/>
          <p:nvPr/>
        </p:nvSpPr>
        <p:spPr>
          <a:xfrm>
            <a:off x="2077866" y="3608400"/>
            <a:ext cx="4636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400"/>
              <a:t>9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414D2F4-23A1-4CE6-97BE-4F09D095B669}"/>
              </a:ext>
            </a:extLst>
          </p:cNvPr>
          <p:cNvSpPr txBox="1"/>
          <p:nvPr/>
        </p:nvSpPr>
        <p:spPr>
          <a:xfrm>
            <a:off x="1667849" y="4229529"/>
            <a:ext cx="2761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800"/>
              <a:t>=</a:t>
            </a:r>
            <a:endParaRPr lang="en-GB"/>
          </a:p>
        </p:txBody>
      </p:sp>
      <p:sp>
        <p:nvSpPr>
          <p:cNvPr id="78" name="CuadroTexto 14">
            <a:extLst>
              <a:ext uri="{FF2B5EF4-FFF2-40B4-BE49-F238E27FC236}">
                <a16:creationId xmlns:a16="http://schemas.microsoft.com/office/drawing/2014/main" id="{CEFF83E0-1997-424D-9EC6-FCE156EDB20E}"/>
              </a:ext>
            </a:extLst>
          </p:cNvPr>
          <p:cNvSpPr txBox="1"/>
          <p:nvPr/>
        </p:nvSpPr>
        <p:spPr>
          <a:xfrm>
            <a:off x="8361713" y="6030017"/>
            <a:ext cx="20862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sz="1600" b="1">
                <a:solidFill>
                  <a:srgbClr val="B1B1B1"/>
                </a:solidFill>
                <a:sym typeface="Wingdings" panose="05000000000000000000" pitchFamily="2" charset="2"/>
              </a:rPr>
              <a:t> </a:t>
            </a:r>
            <a:r>
              <a:rPr lang="es-ES" sz="1600" b="1">
                <a:solidFill>
                  <a:srgbClr val="B1B1B1"/>
                </a:solidFill>
              </a:rPr>
              <a:t>1 PACKAGING UNI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5BFFDD5-9CAF-4C07-9CCB-D56CA7D9F4E8}"/>
              </a:ext>
            </a:extLst>
          </p:cNvPr>
          <p:cNvSpPr txBox="1"/>
          <p:nvPr/>
        </p:nvSpPr>
        <p:spPr>
          <a:xfrm>
            <a:off x="206684" y="1796315"/>
            <a:ext cx="378011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400" i="1" dirty="0" err="1"/>
              <a:t>Each</a:t>
            </a:r>
            <a:r>
              <a:rPr lang="es-ES" sz="1400" i="1" dirty="0"/>
              <a:t> </a:t>
            </a:r>
            <a:r>
              <a:rPr lang="es-ES" sz="1400" i="1" dirty="0" err="1"/>
              <a:t>packaging</a:t>
            </a:r>
            <a:r>
              <a:rPr lang="es-ES" sz="1400" i="1" dirty="0"/>
              <a:t> </a:t>
            </a:r>
            <a:r>
              <a:rPr lang="es-ES" sz="1400" i="1" dirty="0" err="1"/>
              <a:t>unit</a:t>
            </a:r>
            <a:r>
              <a:rPr lang="es-ES" sz="1400" i="1" dirty="0"/>
              <a:t> placed </a:t>
            </a:r>
            <a:r>
              <a:rPr lang="es-ES" sz="1400" i="1" dirty="0" err="1"/>
              <a:t>on</a:t>
            </a:r>
            <a:r>
              <a:rPr lang="es-ES" sz="1400" i="1" dirty="0"/>
              <a:t> </a:t>
            </a:r>
            <a:r>
              <a:rPr lang="es-ES" sz="1400" i="1" dirty="0" err="1"/>
              <a:t>the</a:t>
            </a:r>
            <a:r>
              <a:rPr lang="es-ES" sz="1400" i="1" dirty="0"/>
              <a:t> </a:t>
            </a:r>
            <a:r>
              <a:rPr lang="es-ES" sz="1400" i="1" dirty="0" err="1"/>
              <a:t>market</a:t>
            </a:r>
            <a:r>
              <a:rPr lang="es-ES" sz="1400" i="1" dirty="0"/>
              <a:t> </a:t>
            </a:r>
            <a:r>
              <a:rPr lang="es-ES" sz="1400" i="1" dirty="0" err="1"/>
              <a:t>could</a:t>
            </a:r>
            <a:r>
              <a:rPr lang="es-ES" sz="1400" i="1" dirty="0"/>
              <a:t> be </a:t>
            </a:r>
            <a:r>
              <a:rPr lang="es-ES" sz="1400" i="1" dirty="0" err="1"/>
              <a:t>transformed</a:t>
            </a:r>
            <a:r>
              <a:rPr lang="es-ES" sz="1400" i="1" dirty="0"/>
              <a:t> </a:t>
            </a:r>
            <a:r>
              <a:rPr lang="es-ES" sz="1400" i="1" dirty="0" err="1"/>
              <a:t>into</a:t>
            </a:r>
            <a:r>
              <a:rPr lang="es-ES" sz="1400" i="1" dirty="0"/>
              <a:t> 9 new </a:t>
            </a:r>
            <a:r>
              <a:rPr lang="es-ES" sz="1400" i="1" dirty="0" err="1"/>
              <a:t>units</a:t>
            </a:r>
            <a:r>
              <a:rPr lang="es-ES" sz="1400" i="1" dirty="0"/>
              <a:t> in a close-</a:t>
            </a:r>
            <a:r>
              <a:rPr lang="es-ES" sz="1400" i="1" dirty="0" err="1"/>
              <a:t>loop</a:t>
            </a:r>
            <a:r>
              <a:rPr lang="es-ES" sz="1400" i="1" dirty="0"/>
              <a:t> </a:t>
            </a:r>
            <a:r>
              <a:rPr lang="es-ES" sz="1400" i="1" dirty="0" err="1"/>
              <a:t>scenario</a:t>
            </a:r>
            <a:r>
              <a:rPr lang="es-ES" sz="1400" i="1" dirty="0"/>
              <a:t> </a:t>
            </a:r>
            <a:r>
              <a:rPr lang="en-GB" sz="1400" i="1" dirty="0"/>
              <a:t>before the material is depleted </a:t>
            </a:r>
          </a:p>
        </p:txBody>
      </p:sp>
      <p:pic>
        <p:nvPicPr>
          <p:cNvPr id="82" name="Imagen 6">
            <a:extLst>
              <a:ext uri="{FF2B5EF4-FFF2-40B4-BE49-F238E27FC236}">
                <a16:creationId xmlns:a16="http://schemas.microsoft.com/office/drawing/2014/main" id="{FC825A1A-7B20-420B-9921-697ADE65C3E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472"/>
          <a:stretch/>
        </p:blipFill>
        <p:spPr>
          <a:xfrm>
            <a:off x="4337789" y="1750032"/>
            <a:ext cx="1417551" cy="3987005"/>
          </a:xfrm>
          <a:prstGeom prst="rect">
            <a:avLst/>
          </a:prstGeom>
        </p:spPr>
      </p:pic>
      <p:cxnSp>
        <p:nvCxnSpPr>
          <p:cNvPr id="22" name="Conector recto 21">
            <a:extLst>
              <a:ext uri="{FF2B5EF4-FFF2-40B4-BE49-F238E27FC236}">
                <a16:creationId xmlns:a16="http://schemas.microsoft.com/office/drawing/2014/main" id="{C5A7F0B4-D6BC-3642-AFDF-0030E9B0D591}"/>
              </a:ext>
            </a:extLst>
          </p:cNvPr>
          <p:cNvCxnSpPr>
            <a:cxnSpLocks/>
          </p:cNvCxnSpPr>
          <p:nvPr/>
        </p:nvCxnSpPr>
        <p:spPr>
          <a:xfrm flipH="1">
            <a:off x="2259055" y="6425573"/>
            <a:ext cx="8791097" cy="0"/>
          </a:xfrm>
          <a:prstGeom prst="line">
            <a:avLst/>
          </a:prstGeom>
          <a:ln w="85725">
            <a:gradFill flip="none" rotWithShape="1">
              <a:gsLst>
                <a:gs pos="0">
                  <a:srgbClr val="00ECFF"/>
                </a:gs>
                <a:gs pos="78000">
                  <a:schemeClr val="bg1">
                    <a:lumMod val="7500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8BE8B3C1-5BD3-4DDE-B571-D4083447F2EF}"/>
              </a:ext>
            </a:extLst>
          </p:cNvPr>
          <p:cNvSpPr txBox="1"/>
          <p:nvPr/>
        </p:nvSpPr>
        <p:spPr>
          <a:xfrm>
            <a:off x="1657434" y="4322082"/>
            <a:ext cx="146118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W UNITS MADE OF RECYCLED MATERIALS</a:t>
            </a:r>
            <a:endParaRPr lang="en-GB" sz="1400" b="1"/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87C2AC32-B7C8-44F9-82C4-EB2A6618A114}"/>
              </a:ext>
            </a:extLst>
          </p:cNvPr>
          <p:cNvSpPr txBox="1"/>
          <p:nvPr/>
        </p:nvSpPr>
        <p:spPr>
          <a:xfrm>
            <a:off x="11543731" y="6357581"/>
            <a:ext cx="37531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b="1" dirty="0">
                <a:latin typeface="Arial"/>
                <a:cs typeface="Arial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312827407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7BD4F1-E6F9-984B-AC1D-002C6B3A66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0" y="201821"/>
            <a:ext cx="9964530" cy="712579"/>
          </a:xfrm>
        </p:spPr>
        <p:txBody>
          <a:bodyPr/>
          <a:lstStyle/>
          <a:p>
            <a:r>
              <a:rPr lang="en-GB"/>
              <a:t>High collection rates for beverage cans boost the ‘reuse’ of packaging material in a closed-loop scenario</a:t>
            </a:r>
            <a:endParaRPr lang="es-ES"/>
          </a:p>
        </p:txBody>
      </p:sp>
      <p:pic>
        <p:nvPicPr>
          <p:cNvPr id="4" name="Imagen 3" descr="graphics master 2022 v2_ADITIONAL UNITS - CANS copia.jpg"/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136" b="4314"/>
          <a:stretch/>
        </p:blipFill>
        <p:spPr>
          <a:xfrm>
            <a:off x="-1" y="6036404"/>
            <a:ext cx="12192000" cy="374429"/>
          </a:xfrm>
          <a:prstGeom prst="rect">
            <a:avLst/>
          </a:prstGeom>
        </p:spPr>
      </p:pic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038EA733-77D1-4ACF-8D09-F07A09B3B42B}"/>
              </a:ext>
            </a:extLst>
          </p:cNvPr>
          <p:cNvSpPr txBox="1">
            <a:spLocks/>
          </p:cNvSpPr>
          <p:nvPr/>
        </p:nvSpPr>
        <p:spPr>
          <a:xfrm>
            <a:off x="9650" y="6619694"/>
            <a:ext cx="6201682" cy="1656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5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26695" algn="l"/>
                <a:tab pos="457200" algn="l"/>
              </a:tabLst>
              <a:defRPr kumimoji="0" sz="800" b="1" i="0" u="none" strike="noStrike" cap="none" spc="0" normalizeH="0" baseline="0">
                <a:ln>
                  <a:noFill/>
                </a:ln>
                <a:solidFill>
                  <a:srgbClr val="0078FF"/>
                </a:solidFill>
                <a:effectLst/>
                <a:uLnTx/>
                <a:uFillTx/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defRPr>
            </a:lvl1pPr>
          </a:lstStyle>
          <a:p>
            <a:r>
              <a:rPr lang="en-GB" b="0"/>
              <a:t>Source: </a:t>
            </a:r>
            <a:r>
              <a:rPr lang="en-GB" b="0">
                <a:solidFill>
                  <a:schemeClr val="tx1"/>
                </a:solidFill>
              </a:rPr>
              <a:t>Collection rates &gt;&gt; MPE &amp; European Aluminium, 2021 (2019 data), recycling yield 94%</a:t>
            </a:r>
            <a:endParaRPr lang="en-US" b="0"/>
          </a:p>
        </p:txBody>
      </p:sp>
      <p:pic>
        <p:nvPicPr>
          <p:cNvPr id="12" name="Picture 4" descr="Eu Flag Button Images, Stock Photos &amp;amp; Vectors | Shutterstock">
            <a:extLst>
              <a:ext uri="{FF2B5EF4-FFF2-40B4-BE49-F238E27FC236}">
                <a16:creationId xmlns:a16="http://schemas.microsoft.com/office/drawing/2014/main" id="{5B046635-4C2C-4690-9F0E-AD964C96BA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775" t="14328" r="18180" b="21832"/>
          <a:stretch/>
        </p:blipFill>
        <p:spPr bwMode="auto">
          <a:xfrm>
            <a:off x="11121541" y="185334"/>
            <a:ext cx="765660" cy="74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17C0953-3E05-44BA-A715-E36BF15FEC56}"/>
              </a:ext>
            </a:extLst>
          </p:cNvPr>
          <p:cNvSpPr txBox="1"/>
          <p:nvPr/>
        </p:nvSpPr>
        <p:spPr>
          <a:xfrm>
            <a:off x="7156813" y="2015243"/>
            <a:ext cx="2192758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algn="r"/>
            <a:r>
              <a:rPr lang="es-ES" sz="1200" i="1" err="1"/>
              <a:t>Each</a:t>
            </a:r>
            <a:r>
              <a:rPr lang="es-ES" sz="1200" i="1"/>
              <a:t> can POM </a:t>
            </a:r>
            <a:r>
              <a:rPr lang="es-ES" sz="1200" i="1" err="1"/>
              <a:t>could</a:t>
            </a:r>
            <a:r>
              <a:rPr lang="es-ES" sz="1200" i="1"/>
              <a:t> be </a:t>
            </a:r>
            <a:r>
              <a:rPr lang="es-ES" sz="1200" i="1" err="1"/>
              <a:t>transformed</a:t>
            </a:r>
            <a:r>
              <a:rPr lang="es-ES" sz="1200" i="1"/>
              <a:t> </a:t>
            </a:r>
            <a:r>
              <a:rPr lang="es-ES" sz="1200" i="1" err="1"/>
              <a:t>into</a:t>
            </a:r>
            <a:r>
              <a:rPr lang="es-ES" sz="1200" i="1"/>
              <a:t> 2.5 new </a:t>
            </a:r>
            <a:r>
              <a:rPr lang="es-ES" sz="1200" i="1" err="1"/>
              <a:t>cans</a:t>
            </a:r>
            <a:r>
              <a:rPr lang="es-ES" sz="1200" i="1"/>
              <a:t> in a can-</a:t>
            </a:r>
            <a:r>
              <a:rPr lang="es-ES" sz="1200" i="1" err="1"/>
              <a:t>to</a:t>
            </a:r>
            <a:r>
              <a:rPr lang="es-ES" sz="1200" i="1"/>
              <a:t>-can </a:t>
            </a:r>
            <a:r>
              <a:rPr lang="es-ES" sz="1200" i="1" err="1"/>
              <a:t>scenario</a:t>
            </a:r>
            <a:r>
              <a:rPr lang="es-ES" sz="1200" i="1"/>
              <a:t> </a:t>
            </a:r>
            <a:r>
              <a:rPr lang="en-GB" sz="1200" i="1"/>
              <a:t>before the material is depleted</a:t>
            </a:r>
          </a:p>
        </p:txBody>
      </p:sp>
      <p:sp>
        <p:nvSpPr>
          <p:cNvPr id="18" name="Circular Arrow 130">
            <a:extLst>
              <a:ext uri="{FF2B5EF4-FFF2-40B4-BE49-F238E27FC236}">
                <a16:creationId xmlns:a16="http://schemas.microsoft.com/office/drawing/2014/main" id="{26D4961C-08E6-4855-9F03-8BF77A8E92E1}"/>
              </a:ext>
            </a:extLst>
          </p:cNvPr>
          <p:cNvSpPr/>
          <p:nvPr/>
        </p:nvSpPr>
        <p:spPr bwMode="ltGray">
          <a:xfrm rot="2494040" flipH="1">
            <a:off x="9254729" y="2036246"/>
            <a:ext cx="608163" cy="650304"/>
          </a:xfrm>
          <a:prstGeom prst="circularArrow">
            <a:avLst>
              <a:gd name="adj1" fmla="val 2658"/>
              <a:gd name="adj2" fmla="val 823292"/>
              <a:gd name="adj3" fmla="val 21073086"/>
              <a:gd name="adj4" fmla="val 16363402"/>
              <a:gd name="adj5" fmla="val 4347"/>
            </a:avLst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4E2E897B-01D9-AA44-BF8F-81D83B3F775B}"/>
              </a:ext>
            </a:extLst>
          </p:cNvPr>
          <p:cNvSpPr/>
          <p:nvPr/>
        </p:nvSpPr>
        <p:spPr>
          <a:xfrm>
            <a:off x="2435497" y="1974972"/>
            <a:ext cx="858561" cy="1108455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23C85649-50C5-2C45-BE23-65ACA965707A}"/>
              </a:ext>
            </a:extLst>
          </p:cNvPr>
          <p:cNvSpPr txBox="1"/>
          <p:nvPr/>
        </p:nvSpPr>
        <p:spPr>
          <a:xfrm>
            <a:off x="2402201" y="2172631"/>
            <a:ext cx="9105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latin typeface="Calibri" panose="020F0502020204030204" pitchFamily="34" charset="0"/>
                <a:cs typeface="Calibri" panose="020F0502020204030204" pitchFamily="34" charset="0"/>
              </a:rPr>
              <a:t>76%</a:t>
            </a:r>
            <a:endParaRPr lang="en-GB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5">
            <a:extLst>
              <a:ext uri="{FF2B5EF4-FFF2-40B4-BE49-F238E27FC236}">
                <a16:creationId xmlns:a16="http://schemas.microsoft.com/office/drawing/2014/main" id="{35FE04FD-8541-CF47-B0F8-7AB90F2B4B7B}"/>
              </a:ext>
            </a:extLst>
          </p:cNvPr>
          <p:cNvSpPr txBox="1"/>
          <p:nvPr/>
        </p:nvSpPr>
        <p:spPr>
          <a:xfrm>
            <a:off x="2402201" y="2529429"/>
            <a:ext cx="9105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/>
              <a:t>2019 UE </a:t>
            </a:r>
            <a:r>
              <a:rPr lang="es-ES" sz="1000" err="1"/>
              <a:t>average</a:t>
            </a:r>
            <a:r>
              <a:rPr lang="es-ES" sz="1000"/>
              <a:t> </a:t>
            </a:r>
            <a:r>
              <a:rPr lang="es-ES" sz="1000" err="1"/>
              <a:t>recycling</a:t>
            </a:r>
            <a:r>
              <a:rPr lang="es-ES" sz="1000"/>
              <a:t> </a:t>
            </a:r>
            <a:r>
              <a:rPr lang="es-ES" sz="1000" err="1"/>
              <a:t>rate</a:t>
            </a:r>
            <a:endParaRPr lang="en-GB" sz="1000"/>
          </a:p>
        </p:txBody>
      </p:sp>
      <p:sp>
        <p:nvSpPr>
          <p:cNvPr id="22" name="Rectangle 22">
            <a:extLst>
              <a:ext uri="{FF2B5EF4-FFF2-40B4-BE49-F238E27FC236}">
                <a16:creationId xmlns:a16="http://schemas.microsoft.com/office/drawing/2014/main" id="{DC35C9D7-23A1-754D-9FEC-78A54CF5B532}"/>
              </a:ext>
            </a:extLst>
          </p:cNvPr>
          <p:cNvSpPr/>
          <p:nvPr/>
        </p:nvSpPr>
        <p:spPr>
          <a:xfrm>
            <a:off x="2435496" y="3281087"/>
            <a:ext cx="858561" cy="1561102"/>
          </a:xfrm>
          <a:prstGeom prst="rect">
            <a:avLst/>
          </a:prstGeom>
          <a:solidFill>
            <a:srgbClr val="E7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7">
            <a:extLst>
              <a:ext uri="{FF2B5EF4-FFF2-40B4-BE49-F238E27FC236}">
                <a16:creationId xmlns:a16="http://schemas.microsoft.com/office/drawing/2014/main" id="{37A5FCD2-4FD2-9C4A-B5C0-2EBF526B8EBA}"/>
              </a:ext>
            </a:extLst>
          </p:cNvPr>
          <p:cNvSpPr txBox="1"/>
          <p:nvPr/>
        </p:nvSpPr>
        <p:spPr>
          <a:xfrm>
            <a:off x="2401942" y="4286065"/>
            <a:ext cx="9105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err="1"/>
              <a:t>Best</a:t>
            </a:r>
            <a:r>
              <a:rPr lang="es-ES" sz="1000"/>
              <a:t> case DRS </a:t>
            </a:r>
            <a:r>
              <a:rPr lang="es-ES" sz="1000" err="1"/>
              <a:t>scenario</a:t>
            </a:r>
            <a:endParaRPr lang="en-GB" sz="100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0869B1D8-6612-F94F-8873-C4F8470A60B9}"/>
              </a:ext>
            </a:extLst>
          </p:cNvPr>
          <p:cNvSpPr txBox="1"/>
          <p:nvPr/>
        </p:nvSpPr>
        <p:spPr>
          <a:xfrm>
            <a:off x="2402201" y="3700623"/>
            <a:ext cx="9105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latin typeface="Calibri" panose="020F0502020204030204" pitchFamily="34" charset="0"/>
                <a:cs typeface="Calibri" panose="020F0502020204030204" pitchFamily="34" charset="0"/>
              </a:rPr>
              <a:t>99%</a:t>
            </a:r>
            <a:endParaRPr lang="en-GB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ctangle 15">
            <a:extLst>
              <a:ext uri="{FF2B5EF4-FFF2-40B4-BE49-F238E27FC236}">
                <a16:creationId xmlns:a16="http://schemas.microsoft.com/office/drawing/2014/main" id="{B16F0A5D-7FA1-0549-A9C4-B27FED210312}"/>
              </a:ext>
            </a:extLst>
          </p:cNvPr>
          <p:cNvSpPr/>
          <p:nvPr/>
        </p:nvSpPr>
        <p:spPr>
          <a:xfrm>
            <a:off x="421004" y="1901524"/>
            <a:ext cx="1876425" cy="40649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 18">
            <a:extLst>
              <a:ext uri="{FF2B5EF4-FFF2-40B4-BE49-F238E27FC236}">
                <a16:creationId xmlns:a16="http://schemas.microsoft.com/office/drawing/2014/main" id="{D3BBD58C-595F-9A49-8010-AFB355D07990}"/>
              </a:ext>
            </a:extLst>
          </p:cNvPr>
          <p:cNvSpPr/>
          <p:nvPr/>
        </p:nvSpPr>
        <p:spPr>
          <a:xfrm>
            <a:off x="2354579" y="3194641"/>
            <a:ext cx="9532621" cy="173625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tangle 19">
            <a:extLst>
              <a:ext uri="{FF2B5EF4-FFF2-40B4-BE49-F238E27FC236}">
                <a16:creationId xmlns:a16="http://schemas.microsoft.com/office/drawing/2014/main" id="{5CB738A3-30FA-9A42-BC5E-DF5C66709926}"/>
              </a:ext>
            </a:extLst>
          </p:cNvPr>
          <p:cNvSpPr/>
          <p:nvPr/>
        </p:nvSpPr>
        <p:spPr>
          <a:xfrm>
            <a:off x="2354579" y="1901798"/>
            <a:ext cx="9532621" cy="129172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TextBox 67">
            <a:extLst>
              <a:ext uri="{FF2B5EF4-FFF2-40B4-BE49-F238E27FC236}">
                <a16:creationId xmlns:a16="http://schemas.microsoft.com/office/drawing/2014/main" id="{67BAA5C0-B139-6640-AEF3-E96429ADF291}"/>
              </a:ext>
            </a:extLst>
          </p:cNvPr>
          <p:cNvSpPr txBox="1"/>
          <p:nvPr/>
        </p:nvSpPr>
        <p:spPr>
          <a:xfrm>
            <a:off x="8808866" y="3430559"/>
            <a:ext cx="220013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88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4.5</a:t>
            </a:r>
            <a:endParaRPr lang="en-GB" sz="88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TextBox 68">
            <a:extLst>
              <a:ext uri="{FF2B5EF4-FFF2-40B4-BE49-F238E27FC236}">
                <a16:creationId xmlns:a16="http://schemas.microsoft.com/office/drawing/2014/main" id="{55F32EC5-C4D8-5B42-B036-0F9CBC1DEEA3}"/>
              </a:ext>
            </a:extLst>
          </p:cNvPr>
          <p:cNvSpPr txBox="1"/>
          <p:nvPr/>
        </p:nvSpPr>
        <p:spPr>
          <a:xfrm>
            <a:off x="9261478" y="1875591"/>
            <a:ext cx="174752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88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.5</a:t>
            </a:r>
            <a:endParaRPr lang="en-GB" sz="88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TextBox 69">
            <a:extLst>
              <a:ext uri="{FF2B5EF4-FFF2-40B4-BE49-F238E27FC236}">
                <a16:creationId xmlns:a16="http://schemas.microsoft.com/office/drawing/2014/main" id="{42D7E93B-F957-1644-943D-C8C58E4A2EAF}"/>
              </a:ext>
            </a:extLst>
          </p:cNvPr>
          <p:cNvSpPr txBox="1"/>
          <p:nvPr/>
        </p:nvSpPr>
        <p:spPr>
          <a:xfrm rot="16200000">
            <a:off x="10371554" y="2263802"/>
            <a:ext cx="177963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200"/>
              <a:t>NEW</a:t>
            </a:r>
          </a:p>
          <a:p>
            <a:pPr algn="ctr"/>
            <a:r>
              <a:rPr lang="es-ES" sz="2200"/>
              <a:t>UNITS </a:t>
            </a:r>
            <a:endParaRPr lang="en-GB" sz="2200"/>
          </a:p>
        </p:txBody>
      </p:sp>
      <p:sp>
        <p:nvSpPr>
          <p:cNvPr id="31" name="TextBox 70">
            <a:extLst>
              <a:ext uri="{FF2B5EF4-FFF2-40B4-BE49-F238E27FC236}">
                <a16:creationId xmlns:a16="http://schemas.microsoft.com/office/drawing/2014/main" id="{A684A116-A98B-0945-AB5B-64F464E0A982}"/>
              </a:ext>
            </a:extLst>
          </p:cNvPr>
          <p:cNvSpPr txBox="1"/>
          <p:nvPr/>
        </p:nvSpPr>
        <p:spPr>
          <a:xfrm rot="16200000">
            <a:off x="10371553" y="3797949"/>
            <a:ext cx="177963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200"/>
              <a:t>NEW</a:t>
            </a:r>
          </a:p>
          <a:p>
            <a:pPr algn="ctr"/>
            <a:r>
              <a:rPr lang="es-ES" sz="2200"/>
              <a:t>UNITS </a:t>
            </a:r>
            <a:endParaRPr lang="en-GB" sz="2200"/>
          </a:p>
        </p:txBody>
      </p:sp>
      <p:pic>
        <p:nvPicPr>
          <p:cNvPr id="14" name="Picture 4" descr="Eu Flag Button Images, Stock Photos &amp;amp; Vectors | Shutterstock">
            <a:extLst>
              <a:ext uri="{FF2B5EF4-FFF2-40B4-BE49-F238E27FC236}">
                <a16:creationId xmlns:a16="http://schemas.microsoft.com/office/drawing/2014/main" id="{024CABF6-DE4E-4AD6-81EC-77DDD195AF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775" t="14328" r="18180" b="21832"/>
          <a:stretch/>
        </p:blipFill>
        <p:spPr bwMode="auto">
          <a:xfrm>
            <a:off x="3071021" y="2021379"/>
            <a:ext cx="180000" cy="175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Flag of Germany - Wikipedia">
            <a:extLst>
              <a:ext uri="{FF2B5EF4-FFF2-40B4-BE49-F238E27FC236}">
                <a16:creationId xmlns:a16="http://schemas.microsoft.com/office/drawing/2014/main" id="{9BF98A9E-5C1F-4C50-A226-51A0616C49FC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021" y="3364245"/>
            <a:ext cx="180000" cy="1800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FE2C2488-16BD-2143-8A12-5A0449BF7A27}"/>
              </a:ext>
            </a:extLst>
          </p:cNvPr>
          <p:cNvSpPr txBox="1"/>
          <p:nvPr/>
        </p:nvSpPr>
        <p:spPr>
          <a:xfrm>
            <a:off x="625992" y="2580004"/>
            <a:ext cx="149842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000">
                <a:solidFill>
                  <a:schemeClr val="bg2"/>
                </a:solidFill>
              </a:rPr>
              <a:t>ALUMINIUM</a:t>
            </a:r>
          </a:p>
          <a:p>
            <a:pPr algn="ctr"/>
            <a:r>
              <a:rPr lang="es-ES" sz="2000">
                <a:solidFill>
                  <a:schemeClr val="bg2"/>
                </a:solidFill>
              </a:rPr>
              <a:t>CANS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56C30C55-4784-9E49-8D39-662DA7CABED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894" y="3322141"/>
            <a:ext cx="4560523" cy="1431792"/>
          </a:xfrm>
          <a:prstGeom prst="rect">
            <a:avLst/>
          </a:prstGeom>
        </p:spPr>
      </p:pic>
      <p:pic>
        <p:nvPicPr>
          <p:cNvPr id="38" name="Imagen 37">
            <a:extLst>
              <a:ext uri="{FF2B5EF4-FFF2-40B4-BE49-F238E27FC236}">
                <a16:creationId xmlns:a16="http://schemas.microsoft.com/office/drawing/2014/main" id="{32BAC0E1-200E-2F44-A393-742D1B60355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74846" y="5159708"/>
            <a:ext cx="3373987" cy="662866"/>
          </a:xfrm>
          <a:prstGeom prst="rect">
            <a:avLst/>
          </a:prstGeom>
        </p:spPr>
      </p:pic>
      <p:pic>
        <p:nvPicPr>
          <p:cNvPr id="40" name="Imagen 39">
            <a:extLst>
              <a:ext uri="{FF2B5EF4-FFF2-40B4-BE49-F238E27FC236}">
                <a16:creationId xmlns:a16="http://schemas.microsoft.com/office/drawing/2014/main" id="{59E61EA7-E145-ED49-BAFC-1DED8CB8F91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894" y="2197336"/>
            <a:ext cx="2194088" cy="662866"/>
          </a:xfrm>
          <a:prstGeom prst="rect">
            <a:avLst/>
          </a:prstGeom>
        </p:spPr>
      </p:pic>
      <p:sp>
        <p:nvSpPr>
          <p:cNvPr id="43" name="TextBox 67">
            <a:extLst>
              <a:ext uri="{FF2B5EF4-FFF2-40B4-BE49-F238E27FC236}">
                <a16:creationId xmlns:a16="http://schemas.microsoft.com/office/drawing/2014/main" id="{2152B724-BF49-8F43-8348-9C149BD3DA49}"/>
              </a:ext>
            </a:extLst>
          </p:cNvPr>
          <p:cNvSpPr txBox="1"/>
          <p:nvPr/>
        </p:nvSpPr>
        <p:spPr>
          <a:xfrm>
            <a:off x="8808866" y="4719157"/>
            <a:ext cx="220013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80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.7</a:t>
            </a:r>
          </a:p>
        </p:txBody>
      </p:sp>
      <p:sp>
        <p:nvSpPr>
          <p:cNvPr id="44" name="TextBox 70">
            <a:extLst>
              <a:ext uri="{FF2B5EF4-FFF2-40B4-BE49-F238E27FC236}">
                <a16:creationId xmlns:a16="http://schemas.microsoft.com/office/drawing/2014/main" id="{DDA1DA2D-7BF7-8B42-B1BD-6AF850DB763F}"/>
              </a:ext>
            </a:extLst>
          </p:cNvPr>
          <p:cNvSpPr txBox="1"/>
          <p:nvPr/>
        </p:nvSpPr>
        <p:spPr>
          <a:xfrm rot="16200000">
            <a:off x="10371553" y="5086547"/>
            <a:ext cx="177963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200">
                <a:solidFill>
                  <a:schemeClr val="tx2"/>
                </a:solidFill>
              </a:rPr>
              <a:t>NEW</a:t>
            </a:r>
          </a:p>
          <a:p>
            <a:pPr algn="ctr"/>
            <a:r>
              <a:rPr lang="es-ES" sz="2200">
                <a:solidFill>
                  <a:schemeClr val="tx2"/>
                </a:solidFill>
              </a:rPr>
              <a:t>UNITS </a:t>
            </a:r>
            <a:endParaRPr lang="en-GB" sz="2200">
              <a:solidFill>
                <a:schemeClr val="tx2"/>
              </a:solidFill>
            </a:endParaRPr>
          </a:p>
        </p:txBody>
      </p:sp>
      <p:sp>
        <p:nvSpPr>
          <p:cNvPr id="45" name="Rectangle 19">
            <a:extLst>
              <a:ext uri="{FF2B5EF4-FFF2-40B4-BE49-F238E27FC236}">
                <a16:creationId xmlns:a16="http://schemas.microsoft.com/office/drawing/2014/main" id="{6F0D41FC-B258-D644-9B71-BE257BF42C28}"/>
              </a:ext>
            </a:extLst>
          </p:cNvPr>
          <p:cNvSpPr/>
          <p:nvPr/>
        </p:nvSpPr>
        <p:spPr>
          <a:xfrm>
            <a:off x="2354579" y="4932165"/>
            <a:ext cx="9532621" cy="103038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20">
            <a:extLst>
              <a:ext uri="{FF2B5EF4-FFF2-40B4-BE49-F238E27FC236}">
                <a16:creationId xmlns:a16="http://schemas.microsoft.com/office/drawing/2014/main" id="{DE2BBE7E-B4ED-6041-A5EC-962E0014A4AF}"/>
              </a:ext>
            </a:extLst>
          </p:cNvPr>
          <p:cNvSpPr/>
          <p:nvPr/>
        </p:nvSpPr>
        <p:spPr>
          <a:xfrm>
            <a:off x="2435497" y="5017345"/>
            <a:ext cx="858561" cy="899966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bg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TextBox 4">
            <a:extLst>
              <a:ext uri="{FF2B5EF4-FFF2-40B4-BE49-F238E27FC236}">
                <a16:creationId xmlns:a16="http://schemas.microsoft.com/office/drawing/2014/main" id="{DA4F00AD-8EC1-CB48-96A2-36493883706A}"/>
              </a:ext>
            </a:extLst>
          </p:cNvPr>
          <p:cNvSpPr txBox="1"/>
          <p:nvPr/>
        </p:nvSpPr>
        <p:spPr>
          <a:xfrm>
            <a:off x="2402201" y="5073780"/>
            <a:ext cx="9105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0%</a:t>
            </a:r>
            <a:endParaRPr lang="en-GB" b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" name="TextBox 5">
            <a:extLst>
              <a:ext uri="{FF2B5EF4-FFF2-40B4-BE49-F238E27FC236}">
                <a16:creationId xmlns:a16="http://schemas.microsoft.com/office/drawing/2014/main" id="{D753C237-3AFD-184D-886D-C6E9DF0BD171}"/>
              </a:ext>
            </a:extLst>
          </p:cNvPr>
          <p:cNvSpPr txBox="1"/>
          <p:nvPr/>
        </p:nvSpPr>
        <p:spPr>
          <a:xfrm>
            <a:off x="2402201" y="5430578"/>
            <a:ext cx="9105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>
                <a:solidFill>
                  <a:schemeClr val="bg1"/>
                </a:solidFill>
              </a:rPr>
              <a:t>2030 Ball</a:t>
            </a:r>
          </a:p>
          <a:p>
            <a:pPr algn="ctr"/>
            <a:r>
              <a:rPr lang="es-ES" sz="1000" err="1">
                <a:solidFill>
                  <a:schemeClr val="bg1"/>
                </a:solidFill>
              </a:rPr>
              <a:t>ambition</a:t>
            </a:r>
            <a:endParaRPr lang="en-GB" sz="1000">
              <a:solidFill>
                <a:schemeClr val="bg1"/>
              </a:solidFill>
            </a:endParaRPr>
          </a:p>
        </p:txBody>
      </p:sp>
      <p:sp>
        <p:nvSpPr>
          <p:cNvPr id="37" name="TextBox 5">
            <a:extLst>
              <a:ext uri="{FF2B5EF4-FFF2-40B4-BE49-F238E27FC236}">
                <a16:creationId xmlns:a16="http://schemas.microsoft.com/office/drawing/2014/main" id="{8E080AF2-A884-4481-BAEA-70B499FB6546}"/>
              </a:ext>
            </a:extLst>
          </p:cNvPr>
          <p:cNvSpPr txBox="1"/>
          <p:nvPr/>
        </p:nvSpPr>
        <p:spPr>
          <a:xfrm>
            <a:off x="2292711" y="1323161"/>
            <a:ext cx="1370275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ES" sz="1400" b="1">
                <a:solidFill>
                  <a:schemeClr val="bg1">
                    <a:lumMod val="65000"/>
                  </a:schemeClr>
                </a:solidFill>
              </a:rPr>
              <a:t>COLLECTION RATE</a:t>
            </a:r>
            <a:endParaRPr lang="en-GB" sz="1400" b="1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9" name="TextBox 6">
            <a:extLst>
              <a:ext uri="{FF2B5EF4-FFF2-40B4-BE49-F238E27FC236}">
                <a16:creationId xmlns:a16="http://schemas.microsoft.com/office/drawing/2014/main" id="{8D71BE16-136E-4DAB-B60A-45CB04870758}"/>
              </a:ext>
            </a:extLst>
          </p:cNvPr>
          <p:cNvSpPr txBox="1"/>
          <p:nvPr/>
        </p:nvSpPr>
        <p:spPr>
          <a:xfrm>
            <a:off x="3662986" y="1261606"/>
            <a:ext cx="812793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ES" sz="1600" b="1"/>
              <a:t>NUMBER OF PACKAGING UNITS THAT CAN BE MADE OF RECYCLED MATERIAL FROM ONE PACKAGING UNIT PUT ON THE MARKET</a:t>
            </a:r>
            <a:endParaRPr lang="en-GB" sz="1600" b="1"/>
          </a:p>
        </p:txBody>
      </p:sp>
      <p:pic>
        <p:nvPicPr>
          <p:cNvPr id="41" name="Gráfico 75">
            <a:extLst>
              <a:ext uri="{FF2B5EF4-FFF2-40B4-BE49-F238E27FC236}">
                <a16:creationId xmlns:a16="http://schemas.microsoft.com/office/drawing/2014/main" id="{9E48C41B-2557-44CC-90F6-0C7845A7F8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13375" y="3549113"/>
            <a:ext cx="691681" cy="136331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DBF48D8-B976-7A38-643E-A90A9F524F2B}"/>
              </a:ext>
            </a:extLst>
          </p:cNvPr>
          <p:cNvSpPr txBox="1"/>
          <p:nvPr/>
        </p:nvSpPr>
        <p:spPr>
          <a:xfrm>
            <a:off x="11543731" y="6357581"/>
            <a:ext cx="37531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b="1" dirty="0">
                <a:latin typeface="Arial"/>
                <a:cs typeface="Arial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32063469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363911B-4760-BEA4-98C6-BC2CEDB060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Aluminium </a:t>
            </a:r>
            <a:r>
              <a:rPr lang="en-GB"/>
              <a:t>Production</a:t>
            </a:r>
            <a:br>
              <a:rPr lang="de-CH"/>
            </a:br>
            <a:r>
              <a:rPr lang="de-CH">
                <a:solidFill>
                  <a:schemeClr val="bg1">
                    <a:lumMod val="75000"/>
                  </a:schemeClr>
                </a:solidFill>
              </a:rPr>
              <a:t>Carbon Footprint &amp; Energy </a:t>
            </a:r>
            <a:r>
              <a:rPr lang="en-GB">
                <a:solidFill>
                  <a:schemeClr val="bg1">
                    <a:lumMod val="75000"/>
                  </a:schemeClr>
                </a:solidFill>
              </a:rPr>
              <a:t>Consumption</a:t>
            </a:r>
            <a:endParaRPr lang="en-GB">
              <a:solidFill>
                <a:schemeClr val="bg1">
                  <a:lumMod val="75000"/>
                </a:schemeClr>
              </a:solidFill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FBE8C-615D-79C8-2BD4-5E70E96D867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59923" y="6216622"/>
            <a:ext cx="10795735" cy="182341"/>
          </a:xfrm>
        </p:spPr>
        <p:txBody>
          <a:bodyPr/>
          <a:lstStyle/>
          <a:p>
            <a:r>
              <a:rPr lang="de-DE">
                <a:ea typeface="+mn-lt"/>
                <a:cs typeface="+mn-lt"/>
              </a:rPr>
              <a:t>Source: Life </a:t>
            </a:r>
            <a:r>
              <a:rPr lang="de-DE" err="1">
                <a:ea typeface="+mn-lt"/>
                <a:cs typeface="+mn-lt"/>
              </a:rPr>
              <a:t>cycl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inventory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data</a:t>
            </a:r>
            <a:r>
              <a:rPr lang="de-DE">
                <a:ea typeface="+mn-lt"/>
                <a:cs typeface="+mn-lt"/>
              </a:rPr>
              <a:t> and environmental </a:t>
            </a:r>
            <a:r>
              <a:rPr lang="de-DE" err="1">
                <a:ea typeface="+mn-lt"/>
                <a:cs typeface="+mn-lt"/>
              </a:rPr>
              <a:t>metrics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for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the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primary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aluminium</a:t>
            </a:r>
            <a:r>
              <a:rPr lang="de-DE">
                <a:ea typeface="+mn-lt"/>
                <a:cs typeface="+mn-lt"/>
              </a:rPr>
              <a:t> </a:t>
            </a:r>
            <a:r>
              <a:rPr lang="de-DE" err="1">
                <a:ea typeface="+mn-lt"/>
                <a:cs typeface="+mn-lt"/>
              </a:rPr>
              <a:t>industry</a:t>
            </a:r>
            <a:r>
              <a:rPr lang="de-DE">
                <a:ea typeface="+mn-lt"/>
                <a:cs typeface="+mn-lt"/>
              </a:rPr>
              <a:t>, World Aluminium, 2015. Addendum, August 2018 // Environmental Profile Report 2018, European Aluminium</a:t>
            </a:r>
            <a:endParaRPr lang="en-US">
              <a:ea typeface="+mn-lt"/>
              <a:cs typeface="+mn-lt"/>
            </a:endParaRPr>
          </a:p>
          <a:p>
            <a:endParaRPr lang="en-US">
              <a:cs typeface="Arial"/>
            </a:endParaRPr>
          </a:p>
        </p:txBody>
      </p:sp>
      <p:graphicFrame>
        <p:nvGraphicFramePr>
          <p:cNvPr id="14" name="Chart 10">
            <a:extLst>
              <a:ext uri="{FF2B5EF4-FFF2-40B4-BE49-F238E27FC236}">
                <a16:creationId xmlns:a16="http://schemas.microsoft.com/office/drawing/2014/main" id="{FCEDF6BC-8AC9-AAB9-525F-46917CFB78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4527322"/>
              </p:ext>
            </p:extLst>
          </p:nvPr>
        </p:nvGraphicFramePr>
        <p:xfrm>
          <a:off x="153993" y="1970745"/>
          <a:ext cx="11110235" cy="4340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Box 12">
            <a:extLst>
              <a:ext uri="{FF2B5EF4-FFF2-40B4-BE49-F238E27FC236}">
                <a16:creationId xmlns:a16="http://schemas.microsoft.com/office/drawing/2014/main" id="{E9E3BC88-268D-D8F1-4C89-7721FDD01962}"/>
              </a:ext>
            </a:extLst>
          </p:cNvPr>
          <p:cNvSpPr txBox="1"/>
          <p:nvPr/>
        </p:nvSpPr>
        <p:spPr>
          <a:xfrm>
            <a:off x="11419800" y="1702996"/>
            <a:ext cx="462636" cy="3771340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/>
          <a:p>
            <a:pPr defTabSz="609585">
              <a:lnSpc>
                <a:spcPct val="330000"/>
              </a:lnSpc>
              <a:spcAft>
                <a:spcPts val="1767"/>
              </a:spcAft>
            </a:pPr>
            <a:r>
              <a:rPr lang="de-DE" sz="1200" b="1">
                <a:solidFill>
                  <a:schemeClr val="accent4"/>
                </a:solidFill>
                <a:latin typeface="Arial"/>
              </a:rPr>
              <a:t>200</a:t>
            </a:r>
          </a:p>
          <a:p>
            <a:pPr defTabSz="609585">
              <a:lnSpc>
                <a:spcPct val="330000"/>
              </a:lnSpc>
              <a:spcAft>
                <a:spcPts val="1767"/>
              </a:spcAft>
            </a:pPr>
            <a:r>
              <a:rPr lang="de-DE" sz="1200" b="1">
                <a:solidFill>
                  <a:schemeClr val="accent4"/>
                </a:solidFill>
                <a:latin typeface="Arial"/>
              </a:rPr>
              <a:t>150</a:t>
            </a:r>
          </a:p>
          <a:p>
            <a:pPr defTabSz="609585">
              <a:lnSpc>
                <a:spcPct val="330000"/>
              </a:lnSpc>
              <a:spcAft>
                <a:spcPts val="1767"/>
              </a:spcAft>
            </a:pPr>
            <a:r>
              <a:rPr lang="de-DE" sz="1200" b="1">
                <a:solidFill>
                  <a:schemeClr val="accent4"/>
                </a:solidFill>
                <a:latin typeface="Arial"/>
              </a:rPr>
              <a:t>100</a:t>
            </a:r>
          </a:p>
          <a:p>
            <a:pPr defTabSz="609585">
              <a:lnSpc>
                <a:spcPct val="330000"/>
              </a:lnSpc>
              <a:spcAft>
                <a:spcPts val="1767"/>
              </a:spcAft>
            </a:pPr>
            <a:r>
              <a:rPr lang="de-DE" sz="1200" b="1">
                <a:solidFill>
                  <a:schemeClr val="accent4"/>
                </a:solidFill>
                <a:latin typeface="Arial"/>
              </a:rPr>
              <a:t>50</a:t>
            </a:r>
          </a:p>
          <a:p>
            <a:pPr defTabSz="609585">
              <a:lnSpc>
                <a:spcPct val="330000"/>
              </a:lnSpc>
              <a:spcAft>
                <a:spcPts val="1767"/>
              </a:spcAft>
            </a:pPr>
            <a:r>
              <a:rPr lang="de-DE" sz="1200" b="1">
                <a:solidFill>
                  <a:schemeClr val="accent4"/>
                </a:solidFill>
                <a:latin typeface="Arial"/>
              </a:rPr>
              <a:t>0</a:t>
            </a: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4D223853-DED9-BEBF-2627-6E013F7EE787}"/>
              </a:ext>
            </a:extLst>
          </p:cNvPr>
          <p:cNvSpPr txBox="1"/>
          <p:nvPr/>
        </p:nvSpPr>
        <p:spPr>
          <a:xfrm>
            <a:off x="10738993" y="1711426"/>
            <a:ext cx="9252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609585"/>
            <a:r>
              <a:rPr lang="de-DE" sz="1200">
                <a:solidFill>
                  <a:schemeClr val="bg1"/>
                </a:solidFill>
                <a:latin typeface="Arial"/>
              </a:rPr>
              <a:t>GJ/ tAl</a:t>
            </a:r>
            <a:endParaRPr lang="en-US" sz="1200">
              <a:solidFill>
                <a:schemeClr val="bg1"/>
              </a:solidFill>
              <a:latin typeface="Arial"/>
            </a:endParaRPr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F037A7EF-40CD-2CB7-050F-1841305EC60D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564032" y="1711426"/>
            <a:ext cx="2435423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9585">
              <a:buNone/>
            </a:pPr>
            <a:r>
              <a:rPr lang="de-DE" sz="1200">
                <a:solidFill>
                  <a:schemeClr val="bg1"/>
                </a:solidFill>
              </a:rPr>
              <a:t>t CO</a:t>
            </a:r>
            <a:r>
              <a:rPr lang="de-DE" sz="1200" baseline="-25000">
                <a:solidFill>
                  <a:schemeClr val="bg1"/>
                </a:solidFill>
              </a:rPr>
              <a:t>2</a:t>
            </a:r>
            <a:r>
              <a:rPr lang="de-DE" sz="1200">
                <a:solidFill>
                  <a:schemeClr val="bg1"/>
                </a:solidFill>
              </a:rPr>
              <a:t>eq/t 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8" name="Rectangle 451">
            <a:extLst>
              <a:ext uri="{FF2B5EF4-FFF2-40B4-BE49-F238E27FC236}">
                <a16:creationId xmlns:a16="http://schemas.microsoft.com/office/drawing/2014/main" id="{CF0D174E-C36E-B5D5-ADBD-AA0E281195CC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64032" y="5885964"/>
            <a:ext cx="108000" cy="10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id="{FE3F0648-CBCE-EAF1-97CA-C28E1D46F21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710004" y="5871702"/>
            <a:ext cx="417513" cy="13652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lvl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>
                <a:solidFill>
                  <a:schemeClr val="bg1"/>
                </a:solidFill>
              </a:rPr>
              <a:t>Carbon Footprint</a:t>
            </a:r>
            <a:endParaRPr kumimoji="0" lang="en-US" sz="800" u="none" strike="noStrike" kern="1200" cap="none" spc="0" normalizeH="0" baseline="3000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" name="Rectangle 452">
            <a:extLst>
              <a:ext uri="{FF2B5EF4-FFF2-40B4-BE49-F238E27FC236}">
                <a16:creationId xmlns:a16="http://schemas.microsoft.com/office/drawing/2014/main" id="{5C548445-827F-C59C-0DDF-AA945F77293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674235" y="5885964"/>
            <a:ext cx="108000" cy="10800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299CC4E1-C388-5A36-977E-8D745CC918C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820207" y="5871702"/>
            <a:ext cx="812800" cy="136525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sym typeface="+mn-lt"/>
              </a:rPr>
              <a:t>Energy Consumption</a:t>
            </a:r>
            <a:endParaRPr kumimoji="0" lang="en-US" sz="80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1DCEDAE-44A8-60AD-48DA-49ADB09343B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13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4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8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9" dur="2000"/>
                                        <p:tgtEl>
                                          <p:spTgt spid="1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8" presetClass="entr" presetSubtype="3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2000"/>
                                        <p:tgtEl>
                                          <p:spTgt spid="1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7" dur="2000"/>
                                        <p:tgtEl>
                                          <p:spTgt spid="1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8" presetClass="entr" presetSubtype="3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8" presetClass="entr" presetSubtype="3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4" grpId="0" uiExpand="1">
        <p:bldSub>
          <a:bldChart bld="series"/>
        </p:bldSub>
      </p:bldGraphic>
      <p:bldP spid="15" grpId="0"/>
      <p:bldP spid="16" grpId="0"/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C1C3758-3D93-4CCF-94AB-47E1359C3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owards 100% Recycled Content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8B31E16-9998-368E-9BDE-E04D6C82063B}"/>
              </a:ext>
            </a:extLst>
          </p:cNvPr>
          <p:cNvSpPr txBox="1">
            <a:spLocks/>
          </p:cNvSpPr>
          <p:nvPr/>
        </p:nvSpPr>
        <p:spPr bwMode="gray">
          <a:xfrm>
            <a:off x="540882" y="6063819"/>
            <a:ext cx="11177148" cy="330654"/>
          </a:xfrm>
          <a:prstGeom prst="rect">
            <a:avLst/>
          </a:prstGeom>
        </p:spPr>
        <p:txBody>
          <a:bodyPr vert="horz" wrap="square" lIns="0" tIns="10800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 kern="120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0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4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1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urce: Recycling content and CO2 emissions according to Novelis Europe Can CY21 production; assuming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upgauging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to 0.230 and 0.33cl sleek; estimates for future can based on technical feasibility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data and environmental metrics for the primary aluminium industry, World Aluminium, 2015. Addendum, August 2018 // Environmental Profile Report 2018, European Aluminium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4F5D3F72-6B86-9B96-4FF2-4930EFBCD6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257" y="1988560"/>
            <a:ext cx="2856956" cy="3656169"/>
          </a:xfrm>
          <a:prstGeom prst="rect">
            <a:avLst/>
          </a:prstGeom>
        </p:spPr>
      </p:pic>
      <p:sp>
        <p:nvSpPr>
          <p:cNvPr id="167" name="Rectangle 33">
            <a:extLst>
              <a:ext uri="{FF2B5EF4-FFF2-40B4-BE49-F238E27FC236}">
                <a16:creationId xmlns:a16="http://schemas.microsoft.com/office/drawing/2014/main" id="{6D17CF26-A881-49C9-A40E-ACF7DDF96144}"/>
              </a:ext>
            </a:extLst>
          </p:cNvPr>
          <p:cNvSpPr/>
          <p:nvPr/>
        </p:nvSpPr>
        <p:spPr>
          <a:xfrm>
            <a:off x="1037257" y="5677384"/>
            <a:ext cx="2337178" cy="24622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600" b="1" dirty="0"/>
              <a:t>Novelis can sheet today</a:t>
            </a:r>
            <a:endParaRPr lang="en-US" sz="1600" b="1" baseline="300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1B8E34-28D1-4248-A59C-C59F50D78436}"/>
              </a:ext>
            </a:extLst>
          </p:cNvPr>
          <p:cNvSpPr txBox="1"/>
          <p:nvPr/>
        </p:nvSpPr>
        <p:spPr>
          <a:xfrm>
            <a:off x="12669234" y="60672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>
              <a:solidFill>
                <a:schemeClr val="accent6"/>
              </a:solidFill>
            </a:endParaRPr>
          </a:p>
        </p:txBody>
      </p:sp>
      <p:cxnSp>
        <p:nvCxnSpPr>
          <p:cNvPr id="19" name="Straight Connector 212">
            <a:extLst>
              <a:ext uri="{FF2B5EF4-FFF2-40B4-BE49-F238E27FC236}">
                <a16:creationId xmlns:a16="http://schemas.microsoft.com/office/drawing/2014/main" id="{EBA332FE-169E-456B-8BEA-AFBCCC9179A3}"/>
              </a:ext>
            </a:extLst>
          </p:cNvPr>
          <p:cNvCxnSpPr>
            <a:cxnSpLocks/>
          </p:cNvCxnSpPr>
          <p:nvPr/>
        </p:nvCxnSpPr>
        <p:spPr>
          <a:xfrm>
            <a:off x="2900377" y="2190863"/>
            <a:ext cx="507170" cy="1284428"/>
          </a:xfrm>
          <a:prstGeom prst="line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213">
            <a:extLst>
              <a:ext uri="{FF2B5EF4-FFF2-40B4-BE49-F238E27FC236}">
                <a16:creationId xmlns:a16="http://schemas.microsoft.com/office/drawing/2014/main" id="{080B4F3C-5CC9-4013-90E7-27B10EDE7EC5}"/>
              </a:ext>
            </a:extLst>
          </p:cNvPr>
          <p:cNvCxnSpPr>
            <a:cxnSpLocks/>
          </p:cNvCxnSpPr>
          <p:nvPr/>
        </p:nvCxnSpPr>
        <p:spPr>
          <a:xfrm>
            <a:off x="3407547" y="3481409"/>
            <a:ext cx="4094672" cy="0"/>
          </a:xfrm>
          <a:prstGeom prst="line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1">
            <a:extLst>
              <a:ext uri="{FF2B5EF4-FFF2-40B4-BE49-F238E27FC236}">
                <a16:creationId xmlns:a16="http://schemas.microsoft.com/office/drawing/2014/main" id="{5F8AC56A-D9A4-4DF3-BE75-9B6DEAEAA117}"/>
              </a:ext>
            </a:extLst>
          </p:cNvPr>
          <p:cNvCxnSpPr>
            <a:cxnSpLocks/>
          </p:cNvCxnSpPr>
          <p:nvPr/>
        </p:nvCxnSpPr>
        <p:spPr>
          <a:xfrm>
            <a:off x="2793883" y="4765072"/>
            <a:ext cx="4708336" cy="0"/>
          </a:xfrm>
          <a:prstGeom prst="line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05">
            <a:extLst>
              <a:ext uri="{FF2B5EF4-FFF2-40B4-BE49-F238E27FC236}">
                <a16:creationId xmlns:a16="http://schemas.microsoft.com/office/drawing/2014/main" id="{8F404EEF-690E-4A2C-BFF0-461A72520C5B}"/>
              </a:ext>
            </a:extLst>
          </p:cNvPr>
          <p:cNvSpPr/>
          <p:nvPr/>
        </p:nvSpPr>
        <p:spPr>
          <a:xfrm>
            <a:off x="5379049" y="3112651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4"/>
                </a:solidFill>
              </a:rPr>
              <a:t>2.0</a:t>
            </a:r>
          </a:p>
        </p:txBody>
      </p:sp>
      <p:sp>
        <p:nvSpPr>
          <p:cNvPr id="26" name="Rectangle 209">
            <a:extLst>
              <a:ext uri="{FF2B5EF4-FFF2-40B4-BE49-F238E27FC236}">
                <a16:creationId xmlns:a16="http://schemas.microsoft.com/office/drawing/2014/main" id="{64E0A253-CC5C-4C10-B209-9E4651C52538}"/>
              </a:ext>
            </a:extLst>
          </p:cNvPr>
          <p:cNvSpPr/>
          <p:nvPr/>
        </p:nvSpPr>
        <p:spPr>
          <a:xfrm>
            <a:off x="5294793" y="4399653"/>
            <a:ext cx="498534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</a:rPr>
              <a:t>10.0</a:t>
            </a:r>
          </a:p>
        </p:txBody>
      </p:sp>
      <p:sp>
        <p:nvSpPr>
          <p:cNvPr id="27" name="Rectangle 33">
            <a:extLst>
              <a:ext uri="{FF2B5EF4-FFF2-40B4-BE49-F238E27FC236}">
                <a16:creationId xmlns:a16="http://schemas.microsoft.com/office/drawing/2014/main" id="{A51F4DC9-7FAE-40EB-B433-87C9B67C2513}"/>
              </a:ext>
            </a:extLst>
          </p:cNvPr>
          <p:cNvSpPr/>
          <p:nvPr/>
        </p:nvSpPr>
        <p:spPr>
          <a:xfrm>
            <a:off x="5219634" y="1150338"/>
            <a:ext cx="747315" cy="43088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/>
              <a:t>Weight</a:t>
            </a:r>
          </a:p>
          <a:p>
            <a:pPr algn="ctr"/>
            <a:r>
              <a:rPr lang="en-US" sz="1100" b="1" dirty="0"/>
              <a:t>in g</a:t>
            </a:r>
          </a:p>
        </p:txBody>
      </p:sp>
      <p:sp>
        <p:nvSpPr>
          <p:cNvPr id="28" name="Rectangle 33">
            <a:extLst>
              <a:ext uri="{FF2B5EF4-FFF2-40B4-BE49-F238E27FC236}">
                <a16:creationId xmlns:a16="http://schemas.microsoft.com/office/drawing/2014/main" id="{6731FB99-0359-43DC-994A-B3C06A77EA61}"/>
              </a:ext>
            </a:extLst>
          </p:cNvPr>
          <p:cNvSpPr/>
          <p:nvPr/>
        </p:nvSpPr>
        <p:spPr>
          <a:xfrm>
            <a:off x="6478696" y="1150338"/>
            <a:ext cx="1774047" cy="43088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/>
              <a:t>Carbon Footprint</a:t>
            </a:r>
            <a:endParaRPr lang="en-US" sz="1600" b="1" baseline="30000" dirty="0"/>
          </a:p>
          <a:p>
            <a:pPr algn="ctr"/>
            <a:r>
              <a:rPr lang="en-US" sz="1100" b="1" dirty="0"/>
              <a:t>in t CO2eq / t Al</a:t>
            </a:r>
          </a:p>
        </p:txBody>
      </p:sp>
      <p:sp>
        <p:nvSpPr>
          <p:cNvPr id="21" name="Rectangle 205">
            <a:extLst>
              <a:ext uri="{FF2B5EF4-FFF2-40B4-BE49-F238E27FC236}">
                <a16:creationId xmlns:a16="http://schemas.microsoft.com/office/drawing/2014/main" id="{D85802BC-1C9C-4B56-BA42-EB01FC4997D7}"/>
              </a:ext>
            </a:extLst>
          </p:cNvPr>
          <p:cNvSpPr/>
          <p:nvPr/>
        </p:nvSpPr>
        <p:spPr>
          <a:xfrm>
            <a:off x="7134330" y="3114576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>
                <a:solidFill>
                  <a:schemeClr val="accent4"/>
                </a:solidFill>
              </a:rPr>
              <a:t>7.6</a:t>
            </a:r>
          </a:p>
        </p:txBody>
      </p:sp>
      <p:sp>
        <p:nvSpPr>
          <p:cNvPr id="24" name="Rectangle 209">
            <a:extLst>
              <a:ext uri="{FF2B5EF4-FFF2-40B4-BE49-F238E27FC236}">
                <a16:creationId xmlns:a16="http://schemas.microsoft.com/office/drawing/2014/main" id="{8151E286-DE87-4D62-B9C7-BEF2486BE8FA}"/>
              </a:ext>
            </a:extLst>
          </p:cNvPr>
          <p:cNvSpPr/>
          <p:nvPr/>
        </p:nvSpPr>
        <p:spPr>
          <a:xfrm>
            <a:off x="7121406" y="4399653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2.6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32" name="Rectangle 88">
            <a:extLst>
              <a:ext uri="{FF2B5EF4-FFF2-40B4-BE49-F238E27FC236}">
                <a16:creationId xmlns:a16="http://schemas.microsoft.com/office/drawing/2014/main" id="{888541F3-E24B-4317-9D67-69D3CAD413B5}"/>
              </a:ext>
            </a:extLst>
          </p:cNvPr>
          <p:cNvSpPr/>
          <p:nvPr/>
        </p:nvSpPr>
        <p:spPr>
          <a:xfrm>
            <a:off x="1539746" y="2590292"/>
            <a:ext cx="1591621" cy="1292662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~78%</a:t>
            </a:r>
          </a:p>
          <a:p>
            <a:pPr algn="ctr"/>
            <a:r>
              <a:rPr lang="en-US" sz="2000" b="1" dirty="0">
                <a:solidFill>
                  <a:schemeClr val="tx1"/>
                </a:solidFill>
              </a:rPr>
              <a:t>RECYCLED</a:t>
            </a:r>
          </a:p>
          <a:p>
            <a:pPr algn="ctr"/>
            <a:r>
              <a:rPr lang="en-US" sz="2000" b="1" dirty="0">
                <a:solidFill>
                  <a:schemeClr val="tx1"/>
                </a:solidFill>
              </a:rPr>
              <a:t>CONTENT</a:t>
            </a: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DAA3B9-BB96-7638-2CB9-44515CA1804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14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18" name="Straight Connector 212">
            <a:extLst>
              <a:ext uri="{FF2B5EF4-FFF2-40B4-BE49-F238E27FC236}">
                <a16:creationId xmlns:a16="http://schemas.microsoft.com/office/drawing/2014/main" id="{E8FB8312-132A-4778-91E7-774489138BA8}"/>
              </a:ext>
            </a:extLst>
          </p:cNvPr>
          <p:cNvCxnSpPr>
            <a:cxnSpLocks/>
          </p:cNvCxnSpPr>
          <p:nvPr/>
        </p:nvCxnSpPr>
        <p:spPr>
          <a:xfrm flipV="1">
            <a:off x="2659310" y="1931138"/>
            <a:ext cx="748237" cy="120774"/>
          </a:xfrm>
          <a:prstGeom prst="line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13">
            <a:extLst>
              <a:ext uri="{FF2B5EF4-FFF2-40B4-BE49-F238E27FC236}">
                <a16:creationId xmlns:a16="http://schemas.microsoft.com/office/drawing/2014/main" id="{34898886-0518-49C0-A573-A3E4314D1131}"/>
              </a:ext>
            </a:extLst>
          </p:cNvPr>
          <p:cNvCxnSpPr>
            <a:cxnSpLocks/>
          </p:cNvCxnSpPr>
          <p:nvPr/>
        </p:nvCxnSpPr>
        <p:spPr>
          <a:xfrm>
            <a:off x="3407547" y="1928826"/>
            <a:ext cx="4094672" cy="0"/>
          </a:xfrm>
          <a:prstGeom prst="line">
            <a:avLst/>
          </a:prstGeom>
          <a:noFill/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205">
            <a:extLst>
              <a:ext uri="{FF2B5EF4-FFF2-40B4-BE49-F238E27FC236}">
                <a16:creationId xmlns:a16="http://schemas.microsoft.com/office/drawing/2014/main" id="{7BAC3A1B-F9A2-42B7-8C20-B2049ACDC1EB}"/>
              </a:ext>
            </a:extLst>
          </p:cNvPr>
          <p:cNvSpPr/>
          <p:nvPr/>
        </p:nvSpPr>
        <p:spPr>
          <a:xfrm>
            <a:off x="5379049" y="1986840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4"/>
                </a:solidFill>
              </a:rPr>
              <a:t>0.5</a:t>
            </a:r>
          </a:p>
        </p:txBody>
      </p:sp>
      <p:sp>
        <p:nvSpPr>
          <p:cNvPr id="30" name="Rectangle 205">
            <a:extLst>
              <a:ext uri="{FF2B5EF4-FFF2-40B4-BE49-F238E27FC236}">
                <a16:creationId xmlns:a16="http://schemas.microsoft.com/office/drawing/2014/main" id="{FCEECD45-E08A-4B5A-85C3-3E6353EFC5C2}"/>
              </a:ext>
            </a:extLst>
          </p:cNvPr>
          <p:cNvSpPr/>
          <p:nvPr/>
        </p:nvSpPr>
        <p:spPr>
          <a:xfrm>
            <a:off x="7134330" y="1986840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4"/>
                </a:solidFill>
              </a:rPr>
              <a:t>7.6</a:t>
            </a:r>
          </a:p>
        </p:txBody>
      </p:sp>
      <p:sp>
        <p:nvSpPr>
          <p:cNvPr id="36" name="Rectangle 209">
            <a:extLst>
              <a:ext uri="{FF2B5EF4-FFF2-40B4-BE49-F238E27FC236}">
                <a16:creationId xmlns:a16="http://schemas.microsoft.com/office/drawing/2014/main" id="{220020C4-37CC-4C8E-BB3A-BC947709B79F}"/>
              </a:ext>
            </a:extLst>
          </p:cNvPr>
          <p:cNvSpPr/>
          <p:nvPr/>
        </p:nvSpPr>
        <p:spPr>
          <a:xfrm>
            <a:off x="6924236" y="5615828"/>
            <a:ext cx="565861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Ø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b="1" dirty="0">
                <a:solidFill>
                  <a:schemeClr val="bg1"/>
                </a:solidFill>
              </a:rPr>
              <a:t>3.6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66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6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1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/>
      <p:bldP spid="28" grpId="0"/>
      <p:bldP spid="21" grpId="0"/>
      <p:bldP spid="24" grpId="0"/>
      <p:bldP spid="32" grpId="0"/>
      <p:bldP spid="29" grpId="0"/>
      <p:bldP spid="30" grpId="0"/>
      <p:bldP spid="3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C1C3758-3D93-4CCF-94AB-47E1359C3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owards 100% Recycled Cont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1B8E34-28D1-4248-A59C-C59F50D78436}"/>
              </a:ext>
            </a:extLst>
          </p:cNvPr>
          <p:cNvSpPr txBox="1"/>
          <p:nvPr/>
        </p:nvSpPr>
        <p:spPr>
          <a:xfrm>
            <a:off x="12669234" y="60672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>
              <a:solidFill>
                <a:schemeClr val="accent6"/>
              </a:solidFill>
            </a:endParaRPr>
          </a:p>
        </p:txBody>
      </p:sp>
      <p:sp>
        <p:nvSpPr>
          <p:cNvPr id="25" name="Rectangle 205">
            <a:extLst>
              <a:ext uri="{FF2B5EF4-FFF2-40B4-BE49-F238E27FC236}">
                <a16:creationId xmlns:a16="http://schemas.microsoft.com/office/drawing/2014/main" id="{8F404EEF-690E-4A2C-BFF0-461A72520C5B}"/>
              </a:ext>
            </a:extLst>
          </p:cNvPr>
          <p:cNvSpPr/>
          <p:nvPr/>
        </p:nvSpPr>
        <p:spPr>
          <a:xfrm>
            <a:off x="5379049" y="3062930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>
                <a:solidFill>
                  <a:schemeClr val="accent1"/>
                </a:solidFill>
              </a:rPr>
              <a:t>2.3</a:t>
            </a:r>
          </a:p>
        </p:txBody>
      </p:sp>
      <p:sp>
        <p:nvSpPr>
          <p:cNvPr id="26" name="Rectangle 209">
            <a:extLst>
              <a:ext uri="{FF2B5EF4-FFF2-40B4-BE49-F238E27FC236}">
                <a16:creationId xmlns:a16="http://schemas.microsoft.com/office/drawing/2014/main" id="{64E0A253-CC5C-4C10-B209-9E4651C52538}"/>
              </a:ext>
            </a:extLst>
          </p:cNvPr>
          <p:cNvSpPr/>
          <p:nvPr/>
        </p:nvSpPr>
        <p:spPr>
          <a:xfrm>
            <a:off x="5236383" y="4398785"/>
            <a:ext cx="498533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10.0</a:t>
            </a:r>
          </a:p>
        </p:txBody>
      </p:sp>
      <p:sp>
        <p:nvSpPr>
          <p:cNvPr id="21" name="Rectangle 205">
            <a:extLst>
              <a:ext uri="{FF2B5EF4-FFF2-40B4-BE49-F238E27FC236}">
                <a16:creationId xmlns:a16="http://schemas.microsoft.com/office/drawing/2014/main" id="{D85802BC-1C9C-4B56-BA42-EB01FC4997D7}"/>
              </a:ext>
            </a:extLst>
          </p:cNvPr>
          <p:cNvSpPr/>
          <p:nvPr/>
        </p:nvSpPr>
        <p:spPr>
          <a:xfrm>
            <a:off x="7134330" y="3062930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1.3</a:t>
            </a:r>
          </a:p>
        </p:txBody>
      </p:sp>
      <p:sp>
        <p:nvSpPr>
          <p:cNvPr id="24" name="Rectangle 209">
            <a:extLst>
              <a:ext uri="{FF2B5EF4-FFF2-40B4-BE49-F238E27FC236}">
                <a16:creationId xmlns:a16="http://schemas.microsoft.com/office/drawing/2014/main" id="{8151E286-DE87-4D62-B9C7-BEF2486BE8FA}"/>
              </a:ext>
            </a:extLst>
          </p:cNvPr>
          <p:cNvSpPr/>
          <p:nvPr/>
        </p:nvSpPr>
        <p:spPr>
          <a:xfrm>
            <a:off x="7121406" y="4400710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1.3</a:t>
            </a:r>
            <a:endParaRPr lang="en-US" sz="2000" dirty="0">
              <a:solidFill>
                <a:schemeClr val="accent1"/>
              </a:solidFill>
            </a:endParaRPr>
          </a:p>
        </p:txBody>
      </p:sp>
      <p:pic>
        <p:nvPicPr>
          <p:cNvPr id="32" name="Picture 5">
            <a:extLst>
              <a:ext uri="{FF2B5EF4-FFF2-40B4-BE49-F238E27FC236}">
                <a16:creationId xmlns:a16="http://schemas.microsoft.com/office/drawing/2014/main" id="{DC5FA91B-DE47-4B2A-B6DD-7DD55AFAB555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148009" y="1988560"/>
            <a:ext cx="2906399" cy="3655898"/>
          </a:xfrm>
          <a:prstGeom prst="rect">
            <a:avLst/>
          </a:prstGeom>
        </p:spPr>
      </p:pic>
      <p:sp>
        <p:nvSpPr>
          <p:cNvPr id="35" name="Rectangle 88">
            <a:extLst>
              <a:ext uri="{FF2B5EF4-FFF2-40B4-BE49-F238E27FC236}">
                <a16:creationId xmlns:a16="http://schemas.microsoft.com/office/drawing/2014/main" id="{BC7C1FA3-153A-48B7-8EAF-F19D3646FBAE}"/>
              </a:ext>
            </a:extLst>
          </p:cNvPr>
          <p:cNvSpPr/>
          <p:nvPr/>
        </p:nvSpPr>
        <p:spPr>
          <a:xfrm>
            <a:off x="8717985" y="2592219"/>
            <a:ext cx="1591621" cy="1292662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&gt;95%</a:t>
            </a:r>
          </a:p>
          <a:p>
            <a:pPr algn="ctr"/>
            <a:r>
              <a:rPr lang="en-US" sz="2000" b="1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RECYCLED</a:t>
            </a:r>
          </a:p>
          <a:p>
            <a:pPr algn="ctr"/>
            <a:r>
              <a:rPr lang="en-US" sz="2000" b="1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CONTENT</a:t>
            </a:r>
            <a:endParaRPr lang="en-US" sz="3600" b="1" dirty="0">
              <a:solidFill>
                <a:schemeClr val="accent3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6" name="Rectangle 33">
            <a:extLst>
              <a:ext uri="{FF2B5EF4-FFF2-40B4-BE49-F238E27FC236}">
                <a16:creationId xmlns:a16="http://schemas.microsoft.com/office/drawing/2014/main" id="{54F9B1BE-9223-4B05-985E-5150F82B4B0D}"/>
              </a:ext>
            </a:extLst>
          </p:cNvPr>
          <p:cNvSpPr/>
          <p:nvPr/>
        </p:nvSpPr>
        <p:spPr>
          <a:xfrm>
            <a:off x="8823702" y="5683194"/>
            <a:ext cx="1380186" cy="24622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</a:rPr>
              <a:t>Potential 2030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E78BB81F-595C-4E99-B891-11C55274CC9D}"/>
              </a:ext>
            </a:extLst>
          </p:cNvPr>
          <p:cNvSpPr txBox="1">
            <a:spLocks/>
          </p:cNvSpPr>
          <p:nvPr/>
        </p:nvSpPr>
        <p:spPr bwMode="gray">
          <a:xfrm>
            <a:off x="540882" y="6063819"/>
            <a:ext cx="11177148" cy="330654"/>
          </a:xfrm>
          <a:prstGeom prst="rect">
            <a:avLst/>
          </a:prstGeom>
        </p:spPr>
        <p:txBody>
          <a:bodyPr vert="horz" wrap="square" lIns="0" tIns="10800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 kern="120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0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4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1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urce: Recycling content and CO2 emissions according to Novelis Europe Can CY21 production; assuming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upgauging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to 0.230 and 0.33cl sleek; estimates for future can based on technical feasibility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data and environmental metrics for the primary aluminium industry, World Aluminium, 2015. Addendum, August 2018 // Environmental Profile Report 2018, European Aluminium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B8C6A4-2C9C-109D-A79D-5E34F43639F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15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Rectangle 205">
            <a:extLst>
              <a:ext uri="{FF2B5EF4-FFF2-40B4-BE49-F238E27FC236}">
                <a16:creationId xmlns:a16="http://schemas.microsoft.com/office/drawing/2014/main" id="{6C143648-84A4-498F-910F-B342961CC634}"/>
              </a:ext>
            </a:extLst>
          </p:cNvPr>
          <p:cNvSpPr/>
          <p:nvPr/>
        </p:nvSpPr>
        <p:spPr>
          <a:xfrm>
            <a:off x="5379049" y="1923173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4"/>
                </a:solidFill>
              </a:rPr>
              <a:t>0.5</a:t>
            </a:r>
          </a:p>
        </p:txBody>
      </p:sp>
      <p:sp>
        <p:nvSpPr>
          <p:cNvPr id="29" name="Rectangle 205">
            <a:extLst>
              <a:ext uri="{FF2B5EF4-FFF2-40B4-BE49-F238E27FC236}">
                <a16:creationId xmlns:a16="http://schemas.microsoft.com/office/drawing/2014/main" id="{8A5C24C0-252D-48C7-83EF-14D4BE17C4BD}"/>
              </a:ext>
            </a:extLst>
          </p:cNvPr>
          <p:cNvSpPr/>
          <p:nvPr/>
        </p:nvSpPr>
        <p:spPr>
          <a:xfrm>
            <a:off x="7134330" y="1925098"/>
            <a:ext cx="355867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accent4"/>
                </a:solidFill>
              </a:rPr>
              <a:t>7.6</a:t>
            </a:r>
          </a:p>
        </p:txBody>
      </p:sp>
      <p:sp>
        <p:nvSpPr>
          <p:cNvPr id="30" name="Rectangle 33">
            <a:extLst>
              <a:ext uri="{FF2B5EF4-FFF2-40B4-BE49-F238E27FC236}">
                <a16:creationId xmlns:a16="http://schemas.microsoft.com/office/drawing/2014/main" id="{B1338669-CDEE-4C19-B0EC-F31D8B599A46}"/>
              </a:ext>
            </a:extLst>
          </p:cNvPr>
          <p:cNvSpPr/>
          <p:nvPr/>
        </p:nvSpPr>
        <p:spPr>
          <a:xfrm>
            <a:off x="5219634" y="1150338"/>
            <a:ext cx="747315" cy="43088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 dirty="0"/>
              <a:t>Weight</a:t>
            </a:r>
          </a:p>
          <a:p>
            <a:pPr algn="ctr"/>
            <a:r>
              <a:rPr lang="en-US" sz="1100" b="1" dirty="0"/>
              <a:t>in g</a:t>
            </a:r>
          </a:p>
        </p:txBody>
      </p:sp>
      <p:sp>
        <p:nvSpPr>
          <p:cNvPr id="31" name="Rectangle 33">
            <a:extLst>
              <a:ext uri="{FF2B5EF4-FFF2-40B4-BE49-F238E27FC236}">
                <a16:creationId xmlns:a16="http://schemas.microsoft.com/office/drawing/2014/main" id="{4515D9F9-E3C7-430F-BFC5-438D7F26B491}"/>
              </a:ext>
            </a:extLst>
          </p:cNvPr>
          <p:cNvSpPr/>
          <p:nvPr/>
        </p:nvSpPr>
        <p:spPr>
          <a:xfrm>
            <a:off x="6478696" y="1150338"/>
            <a:ext cx="1774047" cy="43088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1600" b="1"/>
              <a:t>Carbon Footprint</a:t>
            </a:r>
            <a:endParaRPr lang="en-US" sz="1600" b="1" baseline="30000"/>
          </a:p>
          <a:p>
            <a:pPr algn="ctr"/>
            <a:r>
              <a:rPr lang="en-US" sz="1100" b="1"/>
              <a:t>in t CO2eq / t Al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5CA67F5-64D5-42F0-A608-4FE70FCEB088}"/>
              </a:ext>
            </a:extLst>
          </p:cNvPr>
          <p:cNvGrpSpPr/>
          <p:nvPr/>
        </p:nvGrpSpPr>
        <p:grpSpPr>
          <a:xfrm>
            <a:off x="5214741" y="1867047"/>
            <a:ext cx="4141579" cy="2898025"/>
            <a:chOff x="5214741" y="1867047"/>
            <a:chExt cx="4141579" cy="2898025"/>
          </a:xfrm>
        </p:grpSpPr>
        <p:cxnSp>
          <p:nvCxnSpPr>
            <p:cNvPr id="19" name="Straight Connector 212">
              <a:extLst>
                <a:ext uri="{FF2B5EF4-FFF2-40B4-BE49-F238E27FC236}">
                  <a16:creationId xmlns:a16="http://schemas.microsoft.com/office/drawing/2014/main" id="{EBA332FE-169E-456B-8BEA-AFBCCC9179A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148009" y="2207443"/>
              <a:ext cx="758711" cy="1231229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1">
              <a:extLst>
                <a:ext uri="{FF2B5EF4-FFF2-40B4-BE49-F238E27FC236}">
                  <a16:creationId xmlns:a16="http://schemas.microsoft.com/office/drawing/2014/main" id="{5F8AC56A-D9A4-4DF3-BE75-9B6DEAEAA117}"/>
                </a:ext>
              </a:extLst>
            </p:cNvPr>
            <p:cNvCxnSpPr>
              <a:cxnSpLocks/>
            </p:cNvCxnSpPr>
            <p:nvPr/>
          </p:nvCxnSpPr>
          <p:spPr>
            <a:xfrm>
              <a:off x="5214741" y="4765072"/>
              <a:ext cx="3519997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212">
              <a:extLst>
                <a:ext uri="{FF2B5EF4-FFF2-40B4-BE49-F238E27FC236}">
                  <a16:creationId xmlns:a16="http://schemas.microsoft.com/office/drawing/2014/main" id="{AF7C26F2-5F98-4360-916F-50D3DDB74AA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148009" y="1867047"/>
              <a:ext cx="1208311" cy="219119"/>
            </a:xfrm>
            <a:prstGeom prst="line">
              <a:avLst/>
            </a:prstGeom>
            <a:noFill/>
            <a:ln w="127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211">
              <a:extLst>
                <a:ext uri="{FF2B5EF4-FFF2-40B4-BE49-F238E27FC236}">
                  <a16:creationId xmlns:a16="http://schemas.microsoft.com/office/drawing/2014/main" id="{C29FF54D-AD96-4CD5-B1E6-7479D7AA2A29}"/>
                </a:ext>
              </a:extLst>
            </p:cNvPr>
            <p:cNvCxnSpPr>
              <a:cxnSpLocks/>
            </p:cNvCxnSpPr>
            <p:nvPr/>
          </p:nvCxnSpPr>
          <p:spPr>
            <a:xfrm>
              <a:off x="5214741" y="3438672"/>
              <a:ext cx="2933268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211">
              <a:extLst>
                <a:ext uri="{FF2B5EF4-FFF2-40B4-BE49-F238E27FC236}">
                  <a16:creationId xmlns:a16="http://schemas.microsoft.com/office/drawing/2014/main" id="{AD3D42B8-2E5E-4408-95D5-DE81BB44662F}"/>
                </a:ext>
              </a:extLst>
            </p:cNvPr>
            <p:cNvCxnSpPr>
              <a:cxnSpLocks/>
            </p:cNvCxnSpPr>
            <p:nvPr/>
          </p:nvCxnSpPr>
          <p:spPr>
            <a:xfrm>
              <a:off x="5214741" y="1867047"/>
              <a:ext cx="2933268" cy="0"/>
            </a:xfrm>
            <a:prstGeom prst="line">
              <a:avLst/>
            </a:prstGeom>
            <a:noFill/>
            <a:ln w="12700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 209">
            <a:extLst>
              <a:ext uri="{FF2B5EF4-FFF2-40B4-BE49-F238E27FC236}">
                <a16:creationId xmlns:a16="http://schemas.microsoft.com/office/drawing/2014/main" id="{4818DE95-9C08-4FB5-9AAE-B5FE5A01312F}"/>
              </a:ext>
            </a:extLst>
          </p:cNvPr>
          <p:cNvSpPr/>
          <p:nvPr/>
        </p:nvSpPr>
        <p:spPr>
          <a:xfrm>
            <a:off x="6911412" y="5615828"/>
            <a:ext cx="565861" cy="307777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Ø</a:t>
            </a:r>
            <a:r>
              <a:rPr lang="en-US" sz="2000" dirty="0">
                <a:solidFill>
                  <a:schemeClr val="bg1"/>
                </a:solidFill>
              </a:rPr>
              <a:t> </a:t>
            </a:r>
            <a:r>
              <a:rPr lang="en-US" sz="2000" b="1" dirty="0">
                <a:solidFill>
                  <a:schemeClr val="bg1"/>
                </a:solidFill>
              </a:rPr>
              <a:t>1.5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813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6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1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1" grpId="0"/>
      <p:bldP spid="24" grpId="0"/>
      <p:bldP spid="35" grpId="0"/>
      <p:bldP spid="28" grpId="0"/>
      <p:bldP spid="29" grpId="0"/>
      <p:bldP spid="30" grpId="0"/>
      <p:bldP spid="31" grpId="0"/>
      <p:bldP spid="4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C1C3758-3D93-4CCF-94AB-47E1359C39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2"/>
                </a:solidFill>
              </a:rPr>
              <a:t>Towards 100% Recycled Content</a:t>
            </a: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4F5D3F72-6B86-9B96-4FF2-4930EFBCD6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7257" y="1988560"/>
            <a:ext cx="2856956" cy="3656169"/>
          </a:xfrm>
          <a:prstGeom prst="rect">
            <a:avLst/>
          </a:prstGeom>
        </p:spPr>
      </p:pic>
      <p:sp>
        <p:nvSpPr>
          <p:cNvPr id="57" name="Rectangle 88">
            <a:extLst>
              <a:ext uri="{FF2B5EF4-FFF2-40B4-BE49-F238E27FC236}">
                <a16:creationId xmlns:a16="http://schemas.microsoft.com/office/drawing/2014/main" id="{7802AE9E-95CB-E3C2-98D8-D60F95D4819B}"/>
              </a:ext>
            </a:extLst>
          </p:cNvPr>
          <p:cNvSpPr/>
          <p:nvPr/>
        </p:nvSpPr>
        <p:spPr>
          <a:xfrm>
            <a:off x="1539746" y="2590292"/>
            <a:ext cx="1591621" cy="1292662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 dirty="0">
                <a:solidFill>
                  <a:schemeClr val="tx1"/>
                </a:solidFill>
              </a:rPr>
              <a:t>~78%</a:t>
            </a:r>
          </a:p>
          <a:p>
            <a:pPr algn="ctr"/>
            <a:r>
              <a:rPr lang="en-US" sz="2000" b="1" dirty="0">
                <a:solidFill>
                  <a:schemeClr val="tx1"/>
                </a:solidFill>
              </a:rPr>
              <a:t>RECYCLED</a:t>
            </a:r>
          </a:p>
          <a:p>
            <a:pPr algn="ctr"/>
            <a:r>
              <a:rPr lang="en-US" sz="2000" b="1" dirty="0">
                <a:solidFill>
                  <a:schemeClr val="tx1"/>
                </a:solidFill>
              </a:rPr>
              <a:t>CONTENT</a:t>
            </a: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1B8E34-28D1-4248-A59C-C59F50D78436}"/>
              </a:ext>
            </a:extLst>
          </p:cNvPr>
          <p:cNvSpPr txBox="1"/>
          <p:nvPr/>
        </p:nvSpPr>
        <p:spPr>
          <a:xfrm>
            <a:off x="12669234" y="60672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>
              <a:solidFill>
                <a:schemeClr val="accent6"/>
              </a:solidFill>
            </a:endParaRPr>
          </a:p>
        </p:txBody>
      </p:sp>
      <p:pic>
        <p:nvPicPr>
          <p:cNvPr id="32" name="Picture 5">
            <a:extLst>
              <a:ext uri="{FF2B5EF4-FFF2-40B4-BE49-F238E27FC236}">
                <a16:creationId xmlns:a16="http://schemas.microsoft.com/office/drawing/2014/main" id="{DC5FA91B-DE47-4B2A-B6DD-7DD55AFAB555}"/>
              </a:ext>
            </a:extLst>
          </p:cNvPr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8148009" y="1988560"/>
            <a:ext cx="2906399" cy="3655898"/>
          </a:xfrm>
          <a:prstGeom prst="rect">
            <a:avLst/>
          </a:prstGeom>
        </p:spPr>
      </p:pic>
      <p:sp>
        <p:nvSpPr>
          <p:cNvPr id="35" name="Rectangle 88">
            <a:extLst>
              <a:ext uri="{FF2B5EF4-FFF2-40B4-BE49-F238E27FC236}">
                <a16:creationId xmlns:a16="http://schemas.microsoft.com/office/drawing/2014/main" id="{BC7C1FA3-153A-48B7-8EAF-F19D3646FBAE}"/>
              </a:ext>
            </a:extLst>
          </p:cNvPr>
          <p:cNvSpPr/>
          <p:nvPr/>
        </p:nvSpPr>
        <p:spPr>
          <a:xfrm>
            <a:off x="8717985" y="2592219"/>
            <a:ext cx="1591621" cy="1292662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4400" b="1">
                <a:solidFill>
                  <a:schemeClr val="accent3">
                    <a:lumMod val="90000"/>
                    <a:lumOff val="10000"/>
                  </a:schemeClr>
                </a:solidFill>
              </a:rPr>
              <a:t>&gt;95%</a:t>
            </a:r>
          </a:p>
          <a:p>
            <a:pPr algn="ctr"/>
            <a:r>
              <a:rPr lang="en-US" sz="2000" b="1">
                <a:solidFill>
                  <a:schemeClr val="accent3">
                    <a:lumMod val="90000"/>
                    <a:lumOff val="10000"/>
                  </a:schemeClr>
                </a:solidFill>
              </a:rPr>
              <a:t>RECYCLED</a:t>
            </a:r>
          </a:p>
          <a:p>
            <a:pPr algn="ctr"/>
            <a:r>
              <a:rPr lang="en-US" sz="2000" b="1">
                <a:solidFill>
                  <a:schemeClr val="accent3">
                    <a:lumMod val="90000"/>
                    <a:lumOff val="10000"/>
                  </a:schemeClr>
                </a:solidFill>
              </a:rPr>
              <a:t>CONTENT</a:t>
            </a:r>
            <a:endParaRPr lang="en-US" sz="3600" b="1">
              <a:solidFill>
                <a:schemeClr val="accent3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33" name="Rectangle 88">
            <a:extLst>
              <a:ext uri="{FF2B5EF4-FFF2-40B4-BE49-F238E27FC236}">
                <a16:creationId xmlns:a16="http://schemas.microsoft.com/office/drawing/2014/main" id="{E22CBFFA-3B5E-4BAB-B9DB-F3BA723C0F2B}"/>
              </a:ext>
            </a:extLst>
          </p:cNvPr>
          <p:cNvSpPr/>
          <p:nvPr/>
        </p:nvSpPr>
        <p:spPr>
          <a:xfrm>
            <a:off x="4168876" y="2928889"/>
            <a:ext cx="3301430" cy="1723549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2800" b="1">
                <a:solidFill>
                  <a:schemeClr val="accent1"/>
                </a:solidFill>
              </a:rPr>
              <a:t>Carbon </a:t>
            </a:r>
          </a:p>
          <a:p>
            <a:pPr algn="ctr"/>
            <a:r>
              <a:rPr lang="en-US" sz="2800" b="1">
                <a:solidFill>
                  <a:schemeClr val="accent1"/>
                </a:solidFill>
              </a:rPr>
              <a:t>Footprint </a:t>
            </a:r>
          </a:p>
          <a:p>
            <a:pPr algn="ctr"/>
            <a:r>
              <a:rPr lang="en-US" sz="2800" b="1">
                <a:solidFill>
                  <a:schemeClr val="accent1"/>
                </a:solidFill>
              </a:rPr>
              <a:t>Reduction </a:t>
            </a:r>
          </a:p>
          <a:p>
            <a:pPr algn="ctr"/>
            <a:r>
              <a:rPr lang="en-US" sz="2800" b="1">
                <a:solidFill>
                  <a:schemeClr val="accent1"/>
                </a:solidFill>
              </a:rPr>
              <a:t>&gt;50 %</a:t>
            </a:r>
          </a:p>
        </p:txBody>
      </p:sp>
      <p:pic>
        <p:nvPicPr>
          <p:cNvPr id="34" name="Grafik 22" descr="Kreis mit Pfeil nach links Silhouette">
            <a:extLst>
              <a:ext uri="{FF2B5EF4-FFF2-40B4-BE49-F238E27FC236}">
                <a16:creationId xmlns:a16="http://schemas.microsoft.com/office/drawing/2014/main" id="{D46FD7F3-7937-41DB-8E05-6241760FC2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5362391" y="1917017"/>
            <a:ext cx="914400" cy="914400"/>
          </a:xfrm>
          <a:prstGeom prst="rect">
            <a:avLst/>
          </a:prstGeom>
        </p:spPr>
      </p:pic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CBDDC30F-F14A-47A8-A05A-2F52CF0B4CFD}"/>
              </a:ext>
            </a:extLst>
          </p:cNvPr>
          <p:cNvSpPr txBox="1">
            <a:spLocks/>
          </p:cNvSpPr>
          <p:nvPr/>
        </p:nvSpPr>
        <p:spPr bwMode="gray">
          <a:xfrm>
            <a:off x="540882" y="6063819"/>
            <a:ext cx="11177148" cy="330654"/>
          </a:xfrm>
          <a:prstGeom prst="rect">
            <a:avLst/>
          </a:prstGeom>
        </p:spPr>
        <p:txBody>
          <a:bodyPr vert="horz" wrap="square" lIns="0" tIns="10800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 kern="120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0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4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1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Source: Recycling content and CO2 emissions according to Novelis Europe Can CY21 production; assuming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</a:rPr>
              <a:t>upgauging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 to 0.230 and 0.33cl sleek; estimates for future can based on technical feasibility</a:t>
            </a:r>
            <a:r>
              <a:rPr lang="de-DE" dirty="0">
                <a:solidFill>
                  <a:schemeClr val="bg1">
                    <a:lumMod val="65000"/>
                  </a:schemeClr>
                </a:solidFill>
              </a:rPr>
              <a:t> data and environmental metrics for the primary aluminium industry, World Aluminium, 2015. Addendum, August 2018 // Environmental Profile Report 2018, European Aluminium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3B8A16-D57E-9FB0-64E3-DD6A47B9C2B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1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Rectangle 33">
            <a:extLst>
              <a:ext uri="{FF2B5EF4-FFF2-40B4-BE49-F238E27FC236}">
                <a16:creationId xmlns:a16="http://schemas.microsoft.com/office/drawing/2014/main" id="{2DAF5E3E-AE8A-4C7B-8C45-88B77172EB72}"/>
              </a:ext>
            </a:extLst>
          </p:cNvPr>
          <p:cNvSpPr/>
          <p:nvPr/>
        </p:nvSpPr>
        <p:spPr>
          <a:xfrm>
            <a:off x="8823702" y="5683194"/>
            <a:ext cx="1380186" cy="24622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600" b="1" dirty="0">
                <a:solidFill>
                  <a:schemeClr val="bg2"/>
                </a:solidFill>
              </a:rPr>
              <a:t>Potential 2030</a:t>
            </a:r>
          </a:p>
        </p:txBody>
      </p:sp>
      <p:sp>
        <p:nvSpPr>
          <p:cNvPr id="15" name="Rectangle 33">
            <a:extLst>
              <a:ext uri="{FF2B5EF4-FFF2-40B4-BE49-F238E27FC236}">
                <a16:creationId xmlns:a16="http://schemas.microsoft.com/office/drawing/2014/main" id="{FCAC040A-51C0-44EC-A0C6-24FB0E16E682}"/>
              </a:ext>
            </a:extLst>
          </p:cNvPr>
          <p:cNvSpPr/>
          <p:nvPr/>
        </p:nvSpPr>
        <p:spPr>
          <a:xfrm>
            <a:off x="1037257" y="5677384"/>
            <a:ext cx="2337178" cy="246221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1600" b="1" dirty="0"/>
              <a:t>Novelis can sheet today</a:t>
            </a:r>
            <a:endParaRPr lang="en-US" sz="1600" b="1" baseline="30000" dirty="0"/>
          </a:p>
        </p:txBody>
      </p:sp>
    </p:spTree>
    <p:extLst>
      <p:ext uri="{BB962C8B-B14F-4D97-AF65-F5344CB8AC3E}">
        <p14:creationId xmlns:p14="http://schemas.microsoft.com/office/powerpoint/2010/main" val="161086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1E36EE-E105-42D2-A568-8C675B004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8" y="459037"/>
            <a:ext cx="11110235" cy="432000"/>
          </a:xfrm>
        </p:spPr>
        <p:txBody>
          <a:bodyPr/>
          <a:lstStyle/>
          <a:p>
            <a:r>
              <a:rPr lang="de-DE"/>
              <a:t>Closed-Loop / Can-to-Ca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833C3C-FA57-4E81-BFD4-48329D433F5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Recycling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8B5E7FD-15BA-B7D9-744E-9230219999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6031" y="458122"/>
            <a:ext cx="9139938" cy="6858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65C930-7CA8-F1A2-5077-0068CB2AB95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17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29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D134B22-276A-264B-8A44-4A2503B36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399" y="201821"/>
            <a:ext cx="11015133" cy="712579"/>
          </a:xfrm>
        </p:spPr>
        <p:txBody>
          <a:bodyPr/>
          <a:lstStyle/>
          <a:p>
            <a:r>
              <a:rPr lang="en-GB">
                <a:latin typeface="Calibri Light"/>
                <a:ea typeface="Calibri Light"/>
                <a:cs typeface="Calibri Light"/>
              </a:rPr>
              <a:t>REAL CIRCULARITY Vision: A CIRCLE THAT NEVER ENDS</a:t>
            </a:r>
            <a:endParaRPr lang="es-ES">
              <a:latin typeface="Calibri Light"/>
              <a:ea typeface="Calibri Light"/>
              <a:cs typeface="Calibri Light"/>
            </a:endParaRPr>
          </a:p>
        </p:txBody>
      </p:sp>
      <p:sp>
        <p:nvSpPr>
          <p:cNvPr id="4" name="Marcador de texto 10">
            <a:extLst>
              <a:ext uri="{FF2B5EF4-FFF2-40B4-BE49-F238E27FC236}">
                <a16:creationId xmlns:a16="http://schemas.microsoft.com/office/drawing/2014/main" id="{670FC8C3-3499-6B46-92D4-811007A35606}"/>
              </a:ext>
            </a:extLst>
          </p:cNvPr>
          <p:cNvSpPr txBox="1">
            <a:spLocks/>
          </p:cNvSpPr>
          <p:nvPr/>
        </p:nvSpPr>
        <p:spPr>
          <a:xfrm>
            <a:off x="821939" y="1940397"/>
            <a:ext cx="3156261" cy="1873250"/>
          </a:xfrm>
          <a:prstGeom prst="rect">
            <a:avLst/>
          </a:prstGeom>
        </p:spPr>
        <p:txBody>
          <a:bodyPr/>
          <a:lstStyle>
            <a:lvl1pPr marL="282575" indent="-2825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573088" indent="-23495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30288" indent="-2301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196975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C6FF"/>
              </a:buClr>
            </a:pPr>
            <a:r>
              <a:rPr lang="en-GB" sz="1400"/>
              <a:t>EPR with modulated fees</a:t>
            </a:r>
          </a:p>
          <a:p>
            <a:pPr>
              <a:buClr>
                <a:srgbClr val="00C6FF"/>
              </a:buClr>
            </a:pPr>
            <a:r>
              <a:rPr lang="en-GB" sz="1400"/>
              <a:t>Deposit Return Systems (DRS)</a:t>
            </a:r>
          </a:p>
          <a:p>
            <a:pPr>
              <a:buClr>
                <a:srgbClr val="00C6FF"/>
              </a:buClr>
            </a:pPr>
            <a:r>
              <a:rPr lang="en-GB" sz="1400"/>
              <a:t>Set a 90% recovery target for all beverage containers</a:t>
            </a:r>
          </a:p>
          <a:p>
            <a:pPr>
              <a:buClr>
                <a:srgbClr val="00C6FF"/>
              </a:buClr>
            </a:pPr>
            <a:r>
              <a:rPr lang="en-GB" sz="1400"/>
              <a:t>Convenient for consumers including on-the-go collection</a:t>
            </a:r>
            <a:endParaRPr lang="en-GB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B2E678C-2FDF-8349-AF23-53B57804FEB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25173" y="1724655"/>
            <a:ext cx="3925359" cy="3932343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AAB5F74-BCF1-2E43-AAFD-D8B6E062A766}"/>
              </a:ext>
            </a:extLst>
          </p:cNvPr>
          <p:cNvSpPr/>
          <p:nvPr/>
        </p:nvSpPr>
        <p:spPr>
          <a:xfrm>
            <a:off x="1092140" y="1411911"/>
            <a:ext cx="26914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400">
                <a:solidFill>
                  <a:srgbClr val="00C6FF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100% COLLECTION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6D6C617-4EFB-F74F-A742-1D3173943A04}"/>
              </a:ext>
            </a:extLst>
          </p:cNvPr>
          <p:cNvSpPr txBox="1">
            <a:spLocks/>
          </p:cNvSpPr>
          <p:nvPr/>
        </p:nvSpPr>
        <p:spPr>
          <a:xfrm>
            <a:off x="1207991" y="2258244"/>
            <a:ext cx="4258954" cy="1632820"/>
          </a:xfrm>
          <a:prstGeom prst="rect">
            <a:avLst/>
          </a:prstGeom>
        </p:spPr>
        <p:txBody>
          <a:bodyPr/>
          <a:lstStyle>
            <a:lvl1pPr marL="282575" indent="-2825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573088" indent="-23495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30288" indent="-2301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196975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C6FF"/>
              </a:buClr>
            </a:pPr>
            <a:endParaRPr lang="en-GB" sz="1500"/>
          </a:p>
        </p:txBody>
      </p:sp>
      <p:sp>
        <p:nvSpPr>
          <p:cNvPr id="8" name="Marcador de texto 10">
            <a:extLst>
              <a:ext uri="{FF2B5EF4-FFF2-40B4-BE49-F238E27FC236}">
                <a16:creationId xmlns:a16="http://schemas.microsoft.com/office/drawing/2014/main" id="{0B77F319-BA80-9C4C-B2AC-0F8E43BADA5F}"/>
              </a:ext>
            </a:extLst>
          </p:cNvPr>
          <p:cNvSpPr txBox="1">
            <a:spLocks/>
          </p:cNvSpPr>
          <p:nvPr/>
        </p:nvSpPr>
        <p:spPr>
          <a:xfrm>
            <a:off x="952335" y="4999844"/>
            <a:ext cx="3755940" cy="1873616"/>
          </a:xfrm>
          <a:prstGeom prst="rect">
            <a:avLst/>
          </a:prstGeom>
        </p:spPr>
        <p:txBody>
          <a:bodyPr lIns="0" rIns="0"/>
          <a:lstStyle>
            <a:lvl1pPr marL="274320" indent="-27432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Arial" panose="020B0604020202020204" pitchFamily="34" charset="0"/>
              <a:buChar char="•"/>
              <a:defRPr sz="22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54864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82296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9728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37160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en-GB" sz="1400"/>
              <a:t>Standard for Recycled Content</a:t>
            </a:r>
          </a:p>
          <a:p>
            <a:pPr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en-GB" sz="1400"/>
              <a:t>Incentives to keep packaging to packaging</a:t>
            </a:r>
            <a:br>
              <a:rPr lang="en-GB" sz="1400"/>
            </a:br>
            <a:r>
              <a:rPr lang="en-GB" sz="1400"/>
              <a:t>closed loops</a:t>
            </a:r>
          </a:p>
          <a:p>
            <a:pPr>
              <a:buClr>
                <a:schemeClr val="tx1"/>
              </a:buClr>
              <a:buSzPct val="100000"/>
              <a:buFont typeface="Wingdings" pitchFamily="2" charset="2"/>
              <a:buChar char="§"/>
            </a:pPr>
            <a:r>
              <a:rPr lang="en-GB" sz="1400"/>
              <a:t>Tax incentives for recycled materials vs virgin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B9D0C3A4-7773-0B4B-9F38-849B66CEB91F}"/>
              </a:ext>
            </a:extLst>
          </p:cNvPr>
          <p:cNvSpPr/>
          <p:nvPr/>
        </p:nvSpPr>
        <p:spPr>
          <a:xfrm>
            <a:off x="1094822" y="4424653"/>
            <a:ext cx="35689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400"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100% RECYCLED CONTENT</a:t>
            </a:r>
          </a:p>
        </p:txBody>
      </p:sp>
      <p:sp>
        <p:nvSpPr>
          <p:cNvPr id="10" name="Marcador de texto 10">
            <a:extLst>
              <a:ext uri="{FF2B5EF4-FFF2-40B4-BE49-F238E27FC236}">
                <a16:creationId xmlns:a16="http://schemas.microsoft.com/office/drawing/2014/main" id="{8FC6BE26-AFCE-6F49-8470-8EB349E6DCC1}"/>
              </a:ext>
            </a:extLst>
          </p:cNvPr>
          <p:cNvSpPr txBox="1">
            <a:spLocks/>
          </p:cNvSpPr>
          <p:nvPr/>
        </p:nvSpPr>
        <p:spPr>
          <a:xfrm>
            <a:off x="7885164" y="1982729"/>
            <a:ext cx="3025779" cy="1873250"/>
          </a:xfrm>
          <a:prstGeom prst="rect">
            <a:avLst/>
          </a:prstGeom>
        </p:spPr>
        <p:txBody>
          <a:bodyPr/>
          <a:lstStyle>
            <a:lvl1pPr marL="282575" indent="-2825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24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573088" indent="-23495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20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798513" indent="-2254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30288" indent="-23018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196975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rgbClr val="0077FF"/>
              </a:buClr>
            </a:pPr>
            <a:r>
              <a:rPr lang="en-GB" sz="1400"/>
              <a:t>Product design guidelines </a:t>
            </a:r>
          </a:p>
          <a:p>
            <a:pPr algn="r">
              <a:buClr>
                <a:srgbClr val="0077FF"/>
              </a:buClr>
            </a:pPr>
            <a:r>
              <a:rPr lang="en-GB" sz="1400"/>
              <a:t>Right tipping fees &amp;</a:t>
            </a:r>
            <a:br>
              <a:rPr lang="en-GB" sz="1400"/>
            </a:br>
            <a:r>
              <a:rPr lang="en-GB" sz="1400"/>
              <a:t>Material landfill bans</a:t>
            </a:r>
          </a:p>
          <a:p>
            <a:pPr algn="r">
              <a:buClr>
                <a:srgbClr val="0077FF"/>
              </a:buClr>
            </a:pPr>
            <a:r>
              <a:rPr lang="en-GB" sz="1400"/>
              <a:t>Remove barriers for</a:t>
            </a:r>
            <a:br>
              <a:rPr lang="en-GB" sz="1400"/>
            </a:br>
            <a:r>
              <a:rPr lang="en-GB" sz="1400"/>
              <a:t>investments in MRFs and</a:t>
            </a:r>
            <a:br>
              <a:rPr lang="en-GB" sz="1400"/>
            </a:br>
            <a:r>
              <a:rPr lang="en-GB" sz="1400"/>
              <a:t>novel sorting technologies</a:t>
            </a:r>
          </a:p>
          <a:p>
            <a:endParaRPr lang="en-GB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05CBAE33-551B-A846-9A40-4F4EC1AE3164}"/>
              </a:ext>
            </a:extLst>
          </p:cNvPr>
          <p:cNvSpPr/>
          <p:nvPr/>
        </p:nvSpPr>
        <p:spPr>
          <a:xfrm>
            <a:off x="8356312" y="1411911"/>
            <a:ext cx="22866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2400">
                <a:solidFill>
                  <a:srgbClr val="0077FF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100% SORTING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9DF167-EBF6-2B4E-A42E-C97B0E0517FC}"/>
              </a:ext>
            </a:extLst>
          </p:cNvPr>
          <p:cNvSpPr/>
          <p:nvPr/>
        </p:nvSpPr>
        <p:spPr>
          <a:xfrm>
            <a:off x="8250532" y="4396641"/>
            <a:ext cx="2411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2400"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100% RECYCLING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id="{B0AB735D-BEDA-BB4F-B443-1ADBA8E833F4}"/>
              </a:ext>
            </a:extLst>
          </p:cNvPr>
          <p:cNvCxnSpPr>
            <a:cxnSpLocks/>
          </p:cNvCxnSpPr>
          <p:nvPr/>
        </p:nvCxnSpPr>
        <p:spPr>
          <a:xfrm>
            <a:off x="1627686" y="3807978"/>
            <a:ext cx="1069011" cy="0"/>
          </a:xfrm>
          <a:prstGeom prst="line">
            <a:avLst/>
          </a:prstGeom>
          <a:ln>
            <a:solidFill>
              <a:srgbClr val="00C6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cto 13">
            <a:extLst>
              <a:ext uri="{FF2B5EF4-FFF2-40B4-BE49-F238E27FC236}">
                <a16:creationId xmlns:a16="http://schemas.microsoft.com/office/drawing/2014/main" id="{0E260D9A-413B-E044-900B-85D598A8B5C2}"/>
              </a:ext>
            </a:extLst>
          </p:cNvPr>
          <p:cNvCxnSpPr>
            <a:cxnSpLocks/>
          </p:cNvCxnSpPr>
          <p:nvPr/>
        </p:nvCxnSpPr>
        <p:spPr>
          <a:xfrm>
            <a:off x="1638323" y="6437254"/>
            <a:ext cx="106901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9DA7D2D4-377C-6348-B44F-D339008670A6}"/>
              </a:ext>
            </a:extLst>
          </p:cNvPr>
          <p:cNvCxnSpPr>
            <a:cxnSpLocks/>
          </p:cNvCxnSpPr>
          <p:nvPr/>
        </p:nvCxnSpPr>
        <p:spPr>
          <a:xfrm>
            <a:off x="9713923" y="3807978"/>
            <a:ext cx="1069011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C95BF2D3-3B9C-8248-8ABF-A6E3DA45F6A8}"/>
              </a:ext>
            </a:extLst>
          </p:cNvPr>
          <p:cNvCxnSpPr>
            <a:cxnSpLocks/>
          </p:cNvCxnSpPr>
          <p:nvPr/>
        </p:nvCxnSpPr>
        <p:spPr>
          <a:xfrm>
            <a:off x="9746905" y="6437254"/>
            <a:ext cx="106901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CuadroTexto 16">
            <a:extLst>
              <a:ext uri="{FF2B5EF4-FFF2-40B4-BE49-F238E27FC236}">
                <a16:creationId xmlns:a16="http://schemas.microsoft.com/office/drawing/2014/main" id="{B7BCAE0E-9833-E34C-86F8-ACF00D09B6C4}"/>
              </a:ext>
            </a:extLst>
          </p:cNvPr>
          <p:cNvSpPr txBox="1"/>
          <p:nvPr/>
        </p:nvSpPr>
        <p:spPr>
          <a:xfrm>
            <a:off x="556783" y="1110411"/>
            <a:ext cx="444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>
                <a:solidFill>
                  <a:srgbClr val="00C6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E4D3F353-9D28-FA45-91A4-E70955A75F8C}"/>
              </a:ext>
            </a:extLst>
          </p:cNvPr>
          <p:cNvSpPr txBox="1"/>
          <p:nvPr/>
        </p:nvSpPr>
        <p:spPr>
          <a:xfrm>
            <a:off x="507983" y="4117756"/>
            <a:ext cx="444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>
                <a:latin typeface="Calibri Light" panose="020F0302020204030204" pitchFamily="34" charset="0"/>
                <a:cs typeface="Calibri Light" panose="020F0302020204030204" pitchFamily="34" charset="0"/>
              </a:rPr>
              <a:t>4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9D7F8D51-1D3C-3246-9CFB-DE833B601237}"/>
              </a:ext>
            </a:extLst>
          </p:cNvPr>
          <p:cNvSpPr txBox="1"/>
          <p:nvPr/>
        </p:nvSpPr>
        <p:spPr>
          <a:xfrm>
            <a:off x="10661639" y="1110411"/>
            <a:ext cx="444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4800">
                <a:solidFill>
                  <a:srgbClr val="0077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4B3845E9-218D-7546-B96A-91F087391C54}"/>
              </a:ext>
            </a:extLst>
          </p:cNvPr>
          <p:cNvSpPr txBox="1"/>
          <p:nvPr/>
        </p:nvSpPr>
        <p:spPr>
          <a:xfrm>
            <a:off x="10668171" y="4117756"/>
            <a:ext cx="444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480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</a:t>
            </a:r>
          </a:p>
        </p:txBody>
      </p:sp>
      <p:sp>
        <p:nvSpPr>
          <p:cNvPr id="38" name="Marcador de texto 10">
            <a:extLst>
              <a:ext uri="{FF2B5EF4-FFF2-40B4-BE49-F238E27FC236}">
                <a16:creationId xmlns:a16="http://schemas.microsoft.com/office/drawing/2014/main" id="{2BACE84F-BEE2-2D46-96E7-3ABBFA8709D2}"/>
              </a:ext>
            </a:extLst>
          </p:cNvPr>
          <p:cNvSpPr txBox="1">
            <a:spLocks/>
          </p:cNvSpPr>
          <p:nvPr/>
        </p:nvSpPr>
        <p:spPr>
          <a:xfrm>
            <a:off x="8133918" y="4893741"/>
            <a:ext cx="2707365" cy="1873616"/>
          </a:xfrm>
          <a:prstGeom prst="rect">
            <a:avLst/>
          </a:prstGeom>
        </p:spPr>
        <p:txBody>
          <a:bodyPr lIns="0" rIns="0"/>
          <a:lstStyle>
            <a:lvl1pPr marL="274320" indent="-27432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Arial" panose="020B0604020202020204" pitchFamily="34" charset="0"/>
              <a:buChar char="•"/>
              <a:defRPr sz="22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54864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82296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9728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371600" indent="-27432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Clr>
                <a:schemeClr val="bg1">
                  <a:lumMod val="65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400"/>
              <a:t>New recycling technologies with</a:t>
            </a:r>
            <a:br>
              <a:rPr lang="en-GB" sz="1400"/>
            </a:br>
            <a:r>
              <a:rPr lang="en-GB" sz="1400"/>
              <a:t>maximum yields and quality</a:t>
            </a:r>
          </a:p>
          <a:p>
            <a:pPr algn="r">
              <a:buClr>
                <a:schemeClr val="bg1">
                  <a:lumMod val="65000"/>
                </a:schemeClr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400"/>
              <a:t>Increase local recycling to reduce imports of virgin raw material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F78F2D-A83F-05EE-A90B-B6E70827DBC9}"/>
              </a:ext>
            </a:extLst>
          </p:cNvPr>
          <p:cNvSpPr txBox="1"/>
          <p:nvPr/>
        </p:nvSpPr>
        <p:spPr>
          <a:xfrm>
            <a:off x="11543731" y="6357581"/>
            <a:ext cx="37531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000" b="1" dirty="0">
                <a:latin typeface="Arial"/>
                <a:cs typeface="Arial"/>
              </a:rPr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16682898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CAE515B1-4242-4BC0-8C21-A7A2A7D5CD72}"/>
              </a:ext>
            </a:extLst>
          </p:cNvPr>
          <p:cNvSpPr/>
          <p:nvPr/>
        </p:nvSpPr>
        <p:spPr>
          <a:xfrm>
            <a:off x="0" y="0"/>
            <a:ext cx="40095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FFC513-C3BA-4521-B135-D0BD97AC3E14}"/>
              </a:ext>
            </a:extLst>
          </p:cNvPr>
          <p:cNvSpPr txBox="1"/>
          <p:nvPr/>
        </p:nvSpPr>
        <p:spPr>
          <a:xfrm>
            <a:off x="1013982" y="6467460"/>
            <a:ext cx="1575303" cy="217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de-DE" sz="1000" dirty="0">
                <a:solidFill>
                  <a:schemeClr val="accent6"/>
                </a:solidFill>
              </a:rPr>
              <a:t>1</a:t>
            </a:r>
            <a:endParaRPr lang="en-US" sz="1000" dirty="0" err="1">
              <a:solidFill>
                <a:schemeClr val="accent6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F806DE5-D66D-4437-A07D-3F0233CB22C0}"/>
              </a:ext>
            </a:extLst>
          </p:cNvPr>
          <p:cNvSpPr>
            <a:spLocks noGrp="1"/>
          </p:cNvSpPr>
          <p:nvPr>
            <p:ph type="title"/>
          </p:nvPr>
        </p:nvSpPr>
        <p:spPr bwMode="ltGray"/>
        <p:txBody>
          <a:bodyPr/>
          <a:lstStyle/>
          <a:p>
            <a:r>
              <a:rPr lang="en-US">
                <a:solidFill>
                  <a:schemeClr val="accent6"/>
                </a:solidFill>
              </a:rPr>
              <a:t>Our</a:t>
            </a:r>
            <a:br>
              <a:rPr lang="en-US">
                <a:solidFill>
                  <a:schemeClr val="accent6"/>
                </a:solidFill>
              </a:rPr>
            </a:br>
            <a:r>
              <a:rPr lang="en-US">
                <a:solidFill>
                  <a:schemeClr val="bg2">
                    <a:lumMod val="65000"/>
                  </a:schemeClr>
                </a:solidFill>
              </a:rPr>
              <a:t>Ambiti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91B1E98-F23F-49AE-89D9-AB9912CE165E}"/>
              </a:ext>
            </a:extLst>
          </p:cNvPr>
          <p:cNvSpPr txBox="1"/>
          <p:nvPr/>
        </p:nvSpPr>
        <p:spPr bwMode="ltGray">
          <a:xfrm>
            <a:off x="540882" y="2081213"/>
            <a:ext cx="3078000" cy="2859087"/>
          </a:xfrm>
          <a:prstGeom prst="rect">
            <a:avLst/>
          </a:prstGeom>
          <a:noFill/>
        </p:spPr>
        <p:txBody>
          <a:bodyPr wrap="square" lIns="0" tIns="108000" rIns="0" bIns="0" rtlCol="0" anchor="t">
            <a:noAutofit/>
          </a:bodyPr>
          <a:lstStyle/>
          <a:p>
            <a:pPr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en-US" sz="2000">
                <a:solidFill>
                  <a:schemeClr val="accent6"/>
                </a:solidFill>
              </a:rPr>
              <a:t>Novelis’ ambition is to</a:t>
            </a:r>
            <a:br>
              <a:rPr lang="en-US" sz="2000">
                <a:solidFill>
                  <a:schemeClr val="accent6"/>
                </a:solidFill>
              </a:rPr>
            </a:br>
            <a:r>
              <a:rPr lang="en-US" sz="2000">
                <a:solidFill>
                  <a:schemeClr val="accent6"/>
                </a:solidFill>
              </a:rPr>
              <a:t>be the world’s leading provider of low-carbon, sustainable aluminum solutions that advance our business, industry, and society toward the benefits of a circular economy.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F858D10-FAB4-46D0-9AA2-8D7AE295BB29}"/>
              </a:ext>
            </a:extLst>
          </p:cNvPr>
          <p:cNvCxnSpPr>
            <a:cxnSpLocks/>
          </p:cNvCxnSpPr>
          <p:nvPr/>
        </p:nvCxnSpPr>
        <p:spPr bwMode="ltGray">
          <a:xfrm>
            <a:off x="546192" y="2081213"/>
            <a:ext cx="3078000" cy="0"/>
          </a:xfrm>
          <a:prstGeom prst="line">
            <a:avLst/>
          </a:prstGeom>
          <a:noFill/>
          <a:ln w="6350" cap="flat" cmpd="sng" algn="ctr">
            <a:gradFill>
              <a:gsLst>
                <a:gs pos="0">
                  <a:schemeClr val="tx2">
                    <a:alpha val="0"/>
                  </a:schemeClr>
                </a:gs>
                <a:gs pos="100000">
                  <a:schemeClr val="tx2"/>
                </a:gs>
              </a:gsLst>
              <a:lin ang="10800000" scaled="0"/>
            </a:gradFill>
            <a:prstDash val="solid"/>
            <a:tailEnd type="none"/>
          </a:ln>
          <a:effectLst/>
        </p:spPr>
      </p:cxnSp>
      <p:grpSp>
        <p:nvGrpSpPr>
          <p:cNvPr id="54" name="Gruppieren 64">
            <a:extLst>
              <a:ext uri="{FF2B5EF4-FFF2-40B4-BE49-F238E27FC236}">
                <a16:creationId xmlns:a16="http://schemas.microsoft.com/office/drawing/2014/main" id="{363A3263-FDF0-45C1-A061-E836AED18D1C}"/>
              </a:ext>
            </a:extLst>
          </p:cNvPr>
          <p:cNvGrpSpPr/>
          <p:nvPr/>
        </p:nvGrpSpPr>
        <p:grpSpPr>
          <a:xfrm>
            <a:off x="7651487" y="3401124"/>
            <a:ext cx="1647911" cy="1936212"/>
            <a:chOff x="517773" y="2468528"/>
            <a:chExt cx="1647911" cy="1936212"/>
          </a:xfrm>
        </p:grpSpPr>
        <p:sp>
          <p:nvSpPr>
            <p:cNvPr id="55" name="Textfeld 19">
              <a:extLst>
                <a:ext uri="{FF2B5EF4-FFF2-40B4-BE49-F238E27FC236}">
                  <a16:creationId xmlns:a16="http://schemas.microsoft.com/office/drawing/2014/main" id="{93E1E20E-8400-4119-B739-1D8DA3645836}"/>
                </a:ext>
              </a:extLst>
            </p:cNvPr>
            <p:cNvSpPr txBox="1"/>
            <p:nvPr/>
          </p:nvSpPr>
          <p:spPr bwMode="ltGray">
            <a:xfrm>
              <a:off x="537608" y="3666076"/>
              <a:ext cx="1517071" cy="73866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pPr lvl="0">
                <a:defRPr/>
              </a:pPr>
              <a:r>
                <a:rPr lang="en-US" sz="3200" b="1" spc="-5">
                  <a:solidFill>
                    <a:schemeClr val="bg1"/>
                  </a:solidFill>
                  <a:cs typeface="Arial"/>
                </a:rPr>
                <a:t>12,690</a:t>
              </a:r>
              <a:br>
                <a:rPr kumimoji="0" lang="en-US" sz="1200" b="1" i="0" u="none" strike="noStrike" kern="1200" cap="none" spc="-5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/>
                </a:rPr>
              </a:br>
              <a:r>
                <a:rPr kumimoji="0" lang="en-US" sz="1600" i="0" u="none" strike="noStrike" kern="1200" cap="none" spc="-5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/>
                </a:rPr>
                <a:t>Employees</a:t>
              </a:r>
            </a:p>
          </p:txBody>
        </p:sp>
        <p:grpSp>
          <p:nvGrpSpPr>
            <p:cNvPr id="56" name="Gruppieren 8">
              <a:extLst>
                <a:ext uri="{FF2B5EF4-FFF2-40B4-BE49-F238E27FC236}">
                  <a16:creationId xmlns:a16="http://schemas.microsoft.com/office/drawing/2014/main" id="{6FE973A3-8F0C-4B4E-B497-7860C169BB3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41356" y="2468528"/>
              <a:ext cx="1039672" cy="719996"/>
              <a:chOff x="4850428" y="4004251"/>
              <a:chExt cx="920969" cy="637790"/>
            </a:xfrm>
          </p:grpSpPr>
          <p:sp>
            <p:nvSpPr>
              <p:cNvPr id="58" name="Freihandform: Form 50">
                <a:extLst>
                  <a:ext uri="{FF2B5EF4-FFF2-40B4-BE49-F238E27FC236}">
                    <a16:creationId xmlns:a16="http://schemas.microsoft.com/office/drawing/2014/main" id="{38A10C2F-7D4D-4CD4-A61C-448BC7D89F51}"/>
                  </a:ext>
                </a:extLst>
              </p:cNvPr>
              <p:cNvSpPr/>
              <p:nvPr/>
            </p:nvSpPr>
            <p:spPr bwMode="gray">
              <a:xfrm>
                <a:off x="5074073" y="4404907"/>
                <a:ext cx="483774" cy="237134"/>
              </a:xfrm>
              <a:custGeom>
                <a:avLst/>
                <a:gdLst>
                  <a:gd name="connsiteX0" fmla="*/ -363 w 483774"/>
                  <a:gd name="connsiteY0" fmla="*/ 236720 h 237135"/>
                  <a:gd name="connsiteX1" fmla="*/ 246325 w 483774"/>
                  <a:gd name="connsiteY1" fmla="*/ -367 h 237135"/>
                  <a:gd name="connsiteX2" fmla="*/ 483412 w 483774"/>
                  <a:gd name="connsiteY2" fmla="*/ 236720 h 237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3774" h="237135">
                    <a:moveTo>
                      <a:pt x="-363" y="236720"/>
                    </a:moveTo>
                    <a:cubicBezTo>
                      <a:pt x="2285" y="103131"/>
                      <a:pt x="112737" y="-3015"/>
                      <a:pt x="246325" y="-367"/>
                    </a:cubicBezTo>
                    <a:cubicBezTo>
                      <a:pt x="376179" y="2205"/>
                      <a:pt x="480831" y="106865"/>
                      <a:pt x="483412" y="236720"/>
                    </a:cubicBez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59" name="Freihandform: Form 51">
                <a:extLst>
                  <a:ext uri="{FF2B5EF4-FFF2-40B4-BE49-F238E27FC236}">
                    <a16:creationId xmlns:a16="http://schemas.microsoft.com/office/drawing/2014/main" id="{CC2838E7-8A67-4467-A686-AD620FBF9721}"/>
                  </a:ext>
                </a:extLst>
              </p:cNvPr>
              <p:cNvSpPr/>
              <p:nvPr/>
            </p:nvSpPr>
            <p:spPr bwMode="gray">
              <a:xfrm>
                <a:off x="5172275" y="4112357"/>
                <a:ext cx="287274" cy="287272"/>
              </a:xfrm>
              <a:custGeom>
                <a:avLst/>
                <a:gdLst>
                  <a:gd name="connsiteX0" fmla="*/ 287274 w 287274"/>
                  <a:gd name="connsiteY0" fmla="*/ 143637 h 287273"/>
                  <a:gd name="connsiteX1" fmla="*/ 143637 w 287274"/>
                  <a:gd name="connsiteY1" fmla="*/ 287274 h 287273"/>
                  <a:gd name="connsiteX2" fmla="*/ 0 w 287274"/>
                  <a:gd name="connsiteY2" fmla="*/ 143637 h 287273"/>
                  <a:gd name="connsiteX3" fmla="*/ 143637 w 287274"/>
                  <a:gd name="connsiteY3" fmla="*/ 0 h 287273"/>
                  <a:gd name="connsiteX4" fmla="*/ 287274 w 287274"/>
                  <a:gd name="connsiteY4" fmla="*/ 143637 h 287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7274" h="287273">
                    <a:moveTo>
                      <a:pt x="287274" y="143637"/>
                    </a:moveTo>
                    <a:cubicBezTo>
                      <a:pt x="287274" y="222966"/>
                      <a:pt x="222966" y="287274"/>
                      <a:pt x="143637" y="287274"/>
                    </a:cubicBezTo>
                    <a:cubicBezTo>
                      <a:pt x="64308" y="287274"/>
                      <a:pt x="0" y="222966"/>
                      <a:pt x="0" y="143637"/>
                    </a:cubicBezTo>
                    <a:cubicBezTo>
                      <a:pt x="0" y="64308"/>
                      <a:pt x="64308" y="0"/>
                      <a:pt x="143637" y="0"/>
                    </a:cubicBezTo>
                    <a:cubicBezTo>
                      <a:pt x="222965" y="0"/>
                      <a:pt x="287274" y="64309"/>
                      <a:pt x="287274" y="143637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60" name="Freihandform: Form 52">
                <a:extLst>
                  <a:ext uri="{FF2B5EF4-FFF2-40B4-BE49-F238E27FC236}">
                    <a16:creationId xmlns:a16="http://schemas.microsoft.com/office/drawing/2014/main" id="{2D850733-BFAE-4062-BF73-01BF68B4FA95}"/>
                  </a:ext>
                </a:extLst>
              </p:cNvPr>
              <p:cNvSpPr/>
              <p:nvPr/>
            </p:nvSpPr>
            <p:spPr bwMode="gray">
              <a:xfrm>
                <a:off x="4850428" y="4292094"/>
                <a:ext cx="241934" cy="241838"/>
              </a:xfrm>
              <a:custGeom>
                <a:avLst/>
                <a:gdLst>
                  <a:gd name="connsiteX0" fmla="*/ -363 w 241934"/>
                  <a:gd name="connsiteY0" fmla="*/ 241424 h 241839"/>
                  <a:gd name="connsiteX1" fmla="*/ 241477 w 241934"/>
                  <a:gd name="connsiteY1" fmla="*/ -416 h 241839"/>
                  <a:gd name="connsiteX2" fmla="*/ 241572 w 241934"/>
                  <a:gd name="connsiteY2" fmla="*/ -416 h 241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1934" h="241839">
                    <a:moveTo>
                      <a:pt x="-363" y="241424"/>
                    </a:moveTo>
                    <a:cubicBezTo>
                      <a:pt x="-363" y="107855"/>
                      <a:pt x="107908" y="-416"/>
                      <a:pt x="241477" y="-416"/>
                    </a:cubicBezTo>
                    <a:cubicBezTo>
                      <a:pt x="241505" y="-416"/>
                      <a:pt x="241543" y="-416"/>
                      <a:pt x="241572" y="-416"/>
                    </a:cubicBez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62" name="Freihandform: Form 53">
                <a:extLst>
                  <a:ext uri="{FF2B5EF4-FFF2-40B4-BE49-F238E27FC236}">
                    <a16:creationId xmlns:a16="http://schemas.microsoft.com/office/drawing/2014/main" id="{BC0C2CD6-9C23-4168-B2A7-8F4E36C017DB}"/>
                  </a:ext>
                </a:extLst>
              </p:cNvPr>
              <p:cNvSpPr/>
              <p:nvPr/>
            </p:nvSpPr>
            <p:spPr bwMode="gray">
              <a:xfrm>
                <a:off x="4952326" y="4004251"/>
                <a:ext cx="259766" cy="287369"/>
              </a:xfrm>
              <a:custGeom>
                <a:avLst/>
                <a:gdLst>
                  <a:gd name="connsiteX0" fmla="*/ 139674 w 259766"/>
                  <a:gd name="connsiteY0" fmla="*/ 286954 h 287369"/>
                  <a:gd name="connsiteX1" fmla="*/ -315 w 259766"/>
                  <a:gd name="connsiteY1" fmla="*/ 139574 h 287369"/>
                  <a:gd name="connsiteX2" fmla="*/ 139674 w 259766"/>
                  <a:gd name="connsiteY2" fmla="*/ -415 h 287369"/>
                  <a:gd name="connsiteX3" fmla="*/ 259403 w 259766"/>
                  <a:gd name="connsiteY3" fmla="*/ 60164 h 28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766" h="287369">
                    <a:moveTo>
                      <a:pt x="139674" y="286954"/>
                    </a:moveTo>
                    <a:cubicBezTo>
                      <a:pt x="60321" y="284906"/>
                      <a:pt x="-2353" y="218927"/>
                      <a:pt x="-315" y="139574"/>
                    </a:cubicBezTo>
                    <a:cubicBezTo>
                      <a:pt x="1657" y="63088"/>
                      <a:pt x="63198" y="1557"/>
                      <a:pt x="139674" y="-415"/>
                    </a:cubicBezTo>
                    <a:cubicBezTo>
                      <a:pt x="139674" y="-415"/>
                      <a:pt x="218446" y="-1272"/>
                      <a:pt x="259403" y="60164"/>
                    </a:cubicBez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64" name="Freihandform: Form 54">
                <a:extLst>
                  <a:ext uri="{FF2B5EF4-FFF2-40B4-BE49-F238E27FC236}">
                    <a16:creationId xmlns:a16="http://schemas.microsoft.com/office/drawing/2014/main" id="{9D81FEEA-00BD-4DF6-B662-C0EA3974D642}"/>
                  </a:ext>
                </a:extLst>
              </p:cNvPr>
              <p:cNvSpPr/>
              <p:nvPr/>
            </p:nvSpPr>
            <p:spPr bwMode="gray">
              <a:xfrm>
                <a:off x="5529558" y="4292099"/>
                <a:ext cx="241839" cy="241838"/>
              </a:xfrm>
              <a:custGeom>
                <a:avLst/>
                <a:gdLst>
                  <a:gd name="connsiteX0" fmla="*/ 241477 w 241839"/>
                  <a:gd name="connsiteY0" fmla="*/ 241424 h 241839"/>
                  <a:gd name="connsiteX1" fmla="*/ -363 w 241839"/>
                  <a:gd name="connsiteY1" fmla="*/ -416 h 2418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1839" h="241839">
                    <a:moveTo>
                      <a:pt x="241477" y="241424"/>
                    </a:moveTo>
                    <a:cubicBezTo>
                      <a:pt x="241477" y="107855"/>
                      <a:pt x="133206" y="-416"/>
                      <a:pt x="-363" y="-416"/>
                    </a:cubicBez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65" name="Freihandform: Form 55">
                <a:extLst>
                  <a:ext uri="{FF2B5EF4-FFF2-40B4-BE49-F238E27FC236}">
                    <a16:creationId xmlns:a16="http://schemas.microsoft.com/office/drawing/2014/main" id="{A76D676C-5E37-4438-A35B-C30D58F4102D}"/>
                  </a:ext>
                </a:extLst>
              </p:cNvPr>
              <p:cNvSpPr/>
              <p:nvPr/>
            </p:nvSpPr>
            <p:spPr bwMode="gray">
              <a:xfrm>
                <a:off x="5409829" y="4004255"/>
                <a:ext cx="259766" cy="287369"/>
              </a:xfrm>
              <a:custGeom>
                <a:avLst/>
                <a:gdLst>
                  <a:gd name="connsiteX0" fmla="*/ 119366 w 259766"/>
                  <a:gd name="connsiteY0" fmla="*/ 286954 h 287369"/>
                  <a:gd name="connsiteX1" fmla="*/ 259355 w 259766"/>
                  <a:gd name="connsiteY1" fmla="*/ 139574 h 287369"/>
                  <a:gd name="connsiteX2" fmla="*/ 119366 w 259766"/>
                  <a:gd name="connsiteY2" fmla="*/ -415 h 287369"/>
                  <a:gd name="connsiteX3" fmla="*/ -363 w 259766"/>
                  <a:gd name="connsiteY3" fmla="*/ 60164 h 287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766" h="287369">
                    <a:moveTo>
                      <a:pt x="119366" y="286954"/>
                    </a:moveTo>
                    <a:cubicBezTo>
                      <a:pt x="198719" y="284906"/>
                      <a:pt x="261394" y="218927"/>
                      <a:pt x="259355" y="139574"/>
                    </a:cubicBezTo>
                    <a:cubicBezTo>
                      <a:pt x="257384" y="63088"/>
                      <a:pt x="195842" y="1557"/>
                      <a:pt x="119366" y="-415"/>
                    </a:cubicBezTo>
                    <a:cubicBezTo>
                      <a:pt x="119366" y="-415"/>
                      <a:pt x="40595" y="-1272"/>
                      <a:pt x="-363" y="60164"/>
                    </a:cubicBez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</p:grpSp>
        <p:cxnSp>
          <p:nvCxnSpPr>
            <p:cNvPr id="57" name="Gerader Verbinder 16">
              <a:extLst>
                <a:ext uri="{FF2B5EF4-FFF2-40B4-BE49-F238E27FC236}">
                  <a16:creationId xmlns:a16="http://schemas.microsoft.com/office/drawing/2014/main" id="{CEAE2A93-9B93-40AF-8B0D-5F07A1E6621D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517773" y="3488210"/>
              <a:ext cx="1647911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67" name="Gruppieren 68">
            <a:extLst>
              <a:ext uri="{FF2B5EF4-FFF2-40B4-BE49-F238E27FC236}">
                <a16:creationId xmlns:a16="http://schemas.microsoft.com/office/drawing/2014/main" id="{E667317E-3388-4BD8-9DBC-15E3E1C9CA57}"/>
              </a:ext>
            </a:extLst>
          </p:cNvPr>
          <p:cNvGrpSpPr/>
          <p:nvPr/>
        </p:nvGrpSpPr>
        <p:grpSpPr>
          <a:xfrm>
            <a:off x="5334307" y="3468085"/>
            <a:ext cx="1659409" cy="1893357"/>
            <a:chOff x="2845214" y="2551488"/>
            <a:chExt cx="1659409" cy="1893357"/>
          </a:xfrm>
        </p:grpSpPr>
        <p:sp>
          <p:nvSpPr>
            <p:cNvPr id="68" name="Textfeld 34">
              <a:extLst>
                <a:ext uri="{FF2B5EF4-FFF2-40B4-BE49-F238E27FC236}">
                  <a16:creationId xmlns:a16="http://schemas.microsoft.com/office/drawing/2014/main" id="{B9D9AE82-2C9C-4351-8004-22976D1D02EA}"/>
                </a:ext>
              </a:extLst>
            </p:cNvPr>
            <p:cNvSpPr txBox="1"/>
            <p:nvPr/>
          </p:nvSpPr>
          <p:spPr bwMode="ltGray">
            <a:xfrm>
              <a:off x="2845214" y="3706181"/>
              <a:ext cx="1517071" cy="73866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200" b="1" spc="-5" noProof="0">
                  <a:solidFill>
                    <a:schemeClr val="bg1"/>
                  </a:solidFill>
                  <a:cs typeface="Arial"/>
                </a:rPr>
                <a:t>9</a:t>
              </a:r>
              <a:endParaRPr kumimoji="0" lang="en-US" sz="3200" b="1" i="0" u="none" strike="noStrike" kern="1200" cap="none" spc="-5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/>
              </a:endParaRP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-5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Arial"/>
                </a:rPr>
                <a:t>Countries</a:t>
              </a:r>
            </a:p>
          </p:txBody>
        </p:sp>
        <p:grpSp>
          <p:nvGrpSpPr>
            <p:cNvPr id="69" name="Gruppieren 166">
              <a:extLst>
                <a:ext uri="{FF2B5EF4-FFF2-40B4-BE49-F238E27FC236}">
                  <a16:creationId xmlns:a16="http://schemas.microsoft.com/office/drawing/2014/main" id="{8167F473-BBD5-44AA-BF3D-0EBF0B9C27A4}"/>
                </a:ext>
              </a:extLst>
            </p:cNvPr>
            <p:cNvGrpSpPr>
              <a:grpSpLocks noChangeAspect="1"/>
            </p:cNvGrpSpPr>
            <p:nvPr/>
          </p:nvGrpSpPr>
          <p:grpSpPr bwMode="ltGray">
            <a:xfrm>
              <a:off x="2860321" y="2551488"/>
              <a:ext cx="717484" cy="720000"/>
              <a:chOff x="10815794" y="5173215"/>
              <a:chExt cx="628622" cy="630826"/>
            </a:xfrm>
          </p:grpSpPr>
          <p:sp>
            <p:nvSpPr>
              <p:cNvPr id="71" name="Freihandform: Form 167">
                <a:extLst>
                  <a:ext uri="{FF2B5EF4-FFF2-40B4-BE49-F238E27FC236}">
                    <a16:creationId xmlns:a16="http://schemas.microsoft.com/office/drawing/2014/main" id="{A7656CE1-3BD3-4A38-9977-3B6D3A58011E}"/>
                  </a:ext>
                </a:extLst>
              </p:cNvPr>
              <p:cNvSpPr/>
              <p:nvPr/>
            </p:nvSpPr>
            <p:spPr bwMode="ltGray">
              <a:xfrm>
                <a:off x="10815794" y="5478702"/>
                <a:ext cx="628621" cy="16543"/>
              </a:xfrm>
              <a:custGeom>
                <a:avLst/>
                <a:gdLst>
                  <a:gd name="connsiteX0" fmla="*/ 15272 w 928517"/>
                  <a:gd name="connsiteY0" fmla="*/ 15272 h 24434"/>
                  <a:gd name="connsiteX1" fmla="*/ 917726 w 928517"/>
                  <a:gd name="connsiteY1" fmla="*/ 15272 h 24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28517" h="24434">
                    <a:moveTo>
                      <a:pt x="15272" y="15272"/>
                    </a:moveTo>
                    <a:lnTo>
                      <a:pt x="917726" y="15272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2" name="Freihandform: Form 168">
                <a:extLst>
                  <a:ext uri="{FF2B5EF4-FFF2-40B4-BE49-F238E27FC236}">
                    <a16:creationId xmlns:a16="http://schemas.microsoft.com/office/drawing/2014/main" id="{1B3F3B63-C449-4ECE-B2F4-7B4161A6A910}"/>
                  </a:ext>
                </a:extLst>
              </p:cNvPr>
              <p:cNvSpPr/>
              <p:nvPr/>
            </p:nvSpPr>
            <p:spPr bwMode="ltGray">
              <a:xfrm>
                <a:off x="11121282" y="5173215"/>
                <a:ext cx="16543" cy="325339"/>
              </a:xfrm>
              <a:custGeom>
                <a:avLst/>
                <a:gdLst>
                  <a:gd name="connsiteX0" fmla="*/ 15271 w 24434"/>
                  <a:gd name="connsiteY0" fmla="*/ 15272 h 480548"/>
                  <a:gd name="connsiteX1" fmla="*/ 15271 w 24434"/>
                  <a:gd name="connsiteY1" fmla="*/ 466499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434" h="480548">
                    <a:moveTo>
                      <a:pt x="15271" y="15272"/>
                    </a:moveTo>
                    <a:lnTo>
                      <a:pt x="15271" y="466499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3" name="Freihandform: Form 169">
                <a:extLst>
                  <a:ext uri="{FF2B5EF4-FFF2-40B4-BE49-F238E27FC236}">
                    <a16:creationId xmlns:a16="http://schemas.microsoft.com/office/drawing/2014/main" id="{50F4522B-4459-41E8-9F73-9DAE4DE907F1}"/>
                  </a:ext>
                </a:extLst>
              </p:cNvPr>
              <p:cNvSpPr/>
              <p:nvPr/>
            </p:nvSpPr>
            <p:spPr bwMode="ltGray">
              <a:xfrm>
                <a:off x="10815795" y="5173215"/>
                <a:ext cx="628621" cy="325339"/>
              </a:xfrm>
              <a:custGeom>
                <a:avLst/>
                <a:gdLst>
                  <a:gd name="connsiteX0" fmla="*/ 15272 w 928517"/>
                  <a:gd name="connsiteY0" fmla="*/ 466499 h 480548"/>
                  <a:gd name="connsiteX1" fmla="*/ 466498 w 928517"/>
                  <a:gd name="connsiteY1" fmla="*/ 15272 h 480548"/>
                  <a:gd name="connsiteX2" fmla="*/ 917726 w 928517"/>
                  <a:gd name="connsiteY2" fmla="*/ 467313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8517" h="480548">
                    <a:moveTo>
                      <a:pt x="15272" y="466499"/>
                    </a:moveTo>
                    <a:cubicBezTo>
                      <a:pt x="15272" y="217265"/>
                      <a:pt x="217265" y="15272"/>
                      <a:pt x="466498" y="15272"/>
                    </a:cubicBezTo>
                    <a:cubicBezTo>
                      <a:pt x="715732" y="15272"/>
                      <a:pt x="917726" y="218079"/>
                      <a:pt x="917726" y="467313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4" name="Freihandform: Form 170">
                <a:extLst>
                  <a:ext uri="{FF2B5EF4-FFF2-40B4-BE49-F238E27FC236}">
                    <a16:creationId xmlns:a16="http://schemas.microsoft.com/office/drawing/2014/main" id="{6C6566FF-27AD-42FC-AD5F-E936F118761D}"/>
                  </a:ext>
                </a:extLst>
              </p:cNvPr>
              <p:cNvSpPr/>
              <p:nvPr/>
            </p:nvSpPr>
            <p:spPr bwMode="ltGray">
              <a:xfrm>
                <a:off x="10957510" y="5173215"/>
                <a:ext cx="181969" cy="325339"/>
              </a:xfrm>
              <a:custGeom>
                <a:avLst/>
                <a:gdLst>
                  <a:gd name="connsiteX0" fmla="*/ 257175 w 268781"/>
                  <a:gd name="connsiteY0" fmla="*/ 15272 h 480548"/>
                  <a:gd name="connsiteX1" fmla="*/ 15272 w 268781"/>
                  <a:gd name="connsiteY1" fmla="*/ 466499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781" h="480548">
                    <a:moveTo>
                      <a:pt x="257175" y="15272"/>
                    </a:moveTo>
                    <a:cubicBezTo>
                      <a:pt x="257175" y="15272"/>
                      <a:pt x="15272" y="111381"/>
                      <a:pt x="15272" y="466499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5" name="Freihandform: Form 171">
                <a:extLst>
                  <a:ext uri="{FF2B5EF4-FFF2-40B4-BE49-F238E27FC236}">
                    <a16:creationId xmlns:a16="http://schemas.microsoft.com/office/drawing/2014/main" id="{F0C72DA2-E875-4F15-9B20-15036F414809}"/>
                  </a:ext>
                </a:extLst>
              </p:cNvPr>
              <p:cNvSpPr/>
              <p:nvPr/>
            </p:nvSpPr>
            <p:spPr bwMode="ltGray">
              <a:xfrm>
                <a:off x="11121282" y="5173215"/>
                <a:ext cx="181969" cy="325339"/>
              </a:xfrm>
              <a:custGeom>
                <a:avLst/>
                <a:gdLst>
                  <a:gd name="connsiteX0" fmla="*/ 15272 w 268781"/>
                  <a:gd name="connsiteY0" fmla="*/ 15272 h 480548"/>
                  <a:gd name="connsiteX1" fmla="*/ 257176 w 268781"/>
                  <a:gd name="connsiteY1" fmla="*/ 466499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781" h="480548">
                    <a:moveTo>
                      <a:pt x="15272" y="15272"/>
                    </a:moveTo>
                    <a:cubicBezTo>
                      <a:pt x="15272" y="15272"/>
                      <a:pt x="257176" y="111381"/>
                      <a:pt x="257176" y="466499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6" name="Freihandform: Form 172">
                <a:extLst>
                  <a:ext uri="{FF2B5EF4-FFF2-40B4-BE49-F238E27FC236}">
                    <a16:creationId xmlns:a16="http://schemas.microsoft.com/office/drawing/2014/main" id="{705CDB46-FC46-464E-8EC6-0A7E18D2B975}"/>
                  </a:ext>
                </a:extLst>
              </p:cNvPr>
              <p:cNvSpPr/>
              <p:nvPr/>
            </p:nvSpPr>
            <p:spPr bwMode="ltGray">
              <a:xfrm>
                <a:off x="10908985" y="5259237"/>
                <a:ext cx="231597" cy="104770"/>
              </a:xfrm>
              <a:custGeom>
                <a:avLst/>
                <a:gdLst>
                  <a:gd name="connsiteX0" fmla="*/ 328850 w 342085"/>
                  <a:gd name="connsiteY0" fmla="*/ 145590 h 154752"/>
                  <a:gd name="connsiteX1" fmla="*/ 15272 w 342085"/>
                  <a:gd name="connsiteY1" fmla="*/ 15272 h 154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85" h="154752">
                    <a:moveTo>
                      <a:pt x="328850" y="145590"/>
                    </a:moveTo>
                    <a:cubicBezTo>
                      <a:pt x="79617" y="145590"/>
                      <a:pt x="15272" y="15272"/>
                      <a:pt x="15272" y="15272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78" name="Freihandform: Form 173">
                <a:extLst>
                  <a:ext uri="{FF2B5EF4-FFF2-40B4-BE49-F238E27FC236}">
                    <a16:creationId xmlns:a16="http://schemas.microsoft.com/office/drawing/2014/main" id="{9A88C7DB-7950-43D1-8155-E0B88AEC3FC4}"/>
                  </a:ext>
                </a:extLst>
              </p:cNvPr>
              <p:cNvSpPr/>
              <p:nvPr/>
            </p:nvSpPr>
            <p:spPr bwMode="ltGray">
              <a:xfrm>
                <a:off x="11121282" y="5259237"/>
                <a:ext cx="231597" cy="104770"/>
              </a:xfrm>
              <a:custGeom>
                <a:avLst/>
                <a:gdLst>
                  <a:gd name="connsiteX0" fmla="*/ 328850 w 342085"/>
                  <a:gd name="connsiteY0" fmla="*/ 15272 h 154752"/>
                  <a:gd name="connsiteX1" fmla="*/ 15272 w 342085"/>
                  <a:gd name="connsiteY1" fmla="*/ 145590 h 154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85" h="154752">
                    <a:moveTo>
                      <a:pt x="328850" y="15272"/>
                    </a:moveTo>
                    <a:cubicBezTo>
                      <a:pt x="328850" y="15272"/>
                      <a:pt x="264505" y="145590"/>
                      <a:pt x="15272" y="145590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0" name="Freihandform: Form 174">
                <a:extLst>
                  <a:ext uri="{FF2B5EF4-FFF2-40B4-BE49-F238E27FC236}">
                    <a16:creationId xmlns:a16="http://schemas.microsoft.com/office/drawing/2014/main" id="{C9A9A4FC-A823-4438-8B8C-372CD9FA8FD9}"/>
                  </a:ext>
                </a:extLst>
              </p:cNvPr>
              <p:cNvSpPr/>
              <p:nvPr/>
            </p:nvSpPr>
            <p:spPr bwMode="ltGray">
              <a:xfrm>
                <a:off x="11121282" y="5478702"/>
                <a:ext cx="16543" cy="325339"/>
              </a:xfrm>
              <a:custGeom>
                <a:avLst/>
                <a:gdLst>
                  <a:gd name="connsiteX0" fmla="*/ 15271 w 24434"/>
                  <a:gd name="connsiteY0" fmla="*/ 466499 h 480548"/>
                  <a:gd name="connsiteX1" fmla="*/ 15271 w 24434"/>
                  <a:gd name="connsiteY1" fmla="*/ 15272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434" h="480548">
                    <a:moveTo>
                      <a:pt x="15271" y="466499"/>
                    </a:moveTo>
                    <a:lnTo>
                      <a:pt x="15271" y="15272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1" name="Freihandform: Form 175">
                <a:extLst>
                  <a:ext uri="{FF2B5EF4-FFF2-40B4-BE49-F238E27FC236}">
                    <a16:creationId xmlns:a16="http://schemas.microsoft.com/office/drawing/2014/main" id="{62E17EB1-234A-4ED7-9781-99A232992854}"/>
                  </a:ext>
                </a:extLst>
              </p:cNvPr>
              <p:cNvSpPr/>
              <p:nvPr/>
            </p:nvSpPr>
            <p:spPr bwMode="ltGray">
              <a:xfrm>
                <a:off x="10815795" y="5478702"/>
                <a:ext cx="628621" cy="325339"/>
              </a:xfrm>
              <a:custGeom>
                <a:avLst/>
                <a:gdLst>
                  <a:gd name="connsiteX0" fmla="*/ 917726 w 928517"/>
                  <a:gd name="connsiteY0" fmla="*/ 15272 h 480548"/>
                  <a:gd name="connsiteX1" fmla="*/ 466498 w 928517"/>
                  <a:gd name="connsiteY1" fmla="*/ 466499 h 480548"/>
                  <a:gd name="connsiteX2" fmla="*/ 15272 w 928517"/>
                  <a:gd name="connsiteY2" fmla="*/ 15272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28517" h="480548">
                    <a:moveTo>
                      <a:pt x="917726" y="15272"/>
                    </a:moveTo>
                    <a:cubicBezTo>
                      <a:pt x="917726" y="264505"/>
                      <a:pt x="715732" y="466499"/>
                      <a:pt x="466498" y="466499"/>
                    </a:cubicBezTo>
                    <a:cubicBezTo>
                      <a:pt x="217265" y="466499"/>
                      <a:pt x="15272" y="264505"/>
                      <a:pt x="15272" y="15272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2" name="Freihandform: Form 176">
                <a:extLst>
                  <a:ext uri="{FF2B5EF4-FFF2-40B4-BE49-F238E27FC236}">
                    <a16:creationId xmlns:a16="http://schemas.microsoft.com/office/drawing/2014/main" id="{A2D8187A-1498-49EB-AF53-4602FBAF3973}"/>
                  </a:ext>
                </a:extLst>
              </p:cNvPr>
              <p:cNvSpPr/>
              <p:nvPr/>
            </p:nvSpPr>
            <p:spPr bwMode="ltGray">
              <a:xfrm>
                <a:off x="11121282" y="5478702"/>
                <a:ext cx="181969" cy="325339"/>
              </a:xfrm>
              <a:custGeom>
                <a:avLst/>
                <a:gdLst>
                  <a:gd name="connsiteX0" fmla="*/ 15272 w 268781"/>
                  <a:gd name="connsiteY0" fmla="*/ 466499 h 480548"/>
                  <a:gd name="connsiteX1" fmla="*/ 257176 w 268781"/>
                  <a:gd name="connsiteY1" fmla="*/ 15272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781" h="480548">
                    <a:moveTo>
                      <a:pt x="15272" y="466499"/>
                    </a:moveTo>
                    <a:cubicBezTo>
                      <a:pt x="15272" y="466499"/>
                      <a:pt x="257176" y="370389"/>
                      <a:pt x="257176" y="15272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3" name="Freihandform: Form 177">
                <a:extLst>
                  <a:ext uri="{FF2B5EF4-FFF2-40B4-BE49-F238E27FC236}">
                    <a16:creationId xmlns:a16="http://schemas.microsoft.com/office/drawing/2014/main" id="{187AC8F5-CEB2-41CD-A0B9-59A2E343B6DC}"/>
                  </a:ext>
                </a:extLst>
              </p:cNvPr>
              <p:cNvSpPr/>
              <p:nvPr/>
            </p:nvSpPr>
            <p:spPr bwMode="ltGray">
              <a:xfrm>
                <a:off x="10957510" y="5478702"/>
                <a:ext cx="181969" cy="325339"/>
              </a:xfrm>
              <a:custGeom>
                <a:avLst/>
                <a:gdLst>
                  <a:gd name="connsiteX0" fmla="*/ 257175 w 268781"/>
                  <a:gd name="connsiteY0" fmla="*/ 466499 h 480548"/>
                  <a:gd name="connsiteX1" fmla="*/ 15272 w 268781"/>
                  <a:gd name="connsiteY1" fmla="*/ 15272 h 480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8781" h="480548">
                    <a:moveTo>
                      <a:pt x="257175" y="466499"/>
                    </a:moveTo>
                    <a:cubicBezTo>
                      <a:pt x="257175" y="466499"/>
                      <a:pt x="15272" y="370389"/>
                      <a:pt x="15272" y="15272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4" name="Freihandform: Form 178">
                <a:extLst>
                  <a:ext uri="{FF2B5EF4-FFF2-40B4-BE49-F238E27FC236}">
                    <a16:creationId xmlns:a16="http://schemas.microsoft.com/office/drawing/2014/main" id="{8E6A6B95-81AC-48C8-A46F-E646E7C9E00D}"/>
                  </a:ext>
                </a:extLst>
              </p:cNvPr>
              <p:cNvSpPr/>
              <p:nvPr/>
            </p:nvSpPr>
            <p:spPr bwMode="ltGray">
              <a:xfrm>
                <a:off x="11121282" y="5609941"/>
                <a:ext cx="231597" cy="104770"/>
              </a:xfrm>
              <a:custGeom>
                <a:avLst/>
                <a:gdLst>
                  <a:gd name="connsiteX0" fmla="*/ 328850 w 342085"/>
                  <a:gd name="connsiteY0" fmla="*/ 145590 h 154752"/>
                  <a:gd name="connsiteX1" fmla="*/ 15272 w 342085"/>
                  <a:gd name="connsiteY1" fmla="*/ 15272 h 154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85" h="154752">
                    <a:moveTo>
                      <a:pt x="328850" y="145590"/>
                    </a:moveTo>
                    <a:cubicBezTo>
                      <a:pt x="328850" y="145590"/>
                      <a:pt x="264505" y="15272"/>
                      <a:pt x="15272" y="15272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85" name="Freihandform: Form 179">
                <a:extLst>
                  <a:ext uri="{FF2B5EF4-FFF2-40B4-BE49-F238E27FC236}">
                    <a16:creationId xmlns:a16="http://schemas.microsoft.com/office/drawing/2014/main" id="{CC7FE8E0-562E-4AFE-ADE5-B7ADA0AC5119}"/>
                  </a:ext>
                </a:extLst>
              </p:cNvPr>
              <p:cNvSpPr/>
              <p:nvPr/>
            </p:nvSpPr>
            <p:spPr bwMode="ltGray">
              <a:xfrm>
                <a:off x="10908985" y="5609941"/>
                <a:ext cx="231597" cy="104770"/>
              </a:xfrm>
              <a:custGeom>
                <a:avLst/>
                <a:gdLst>
                  <a:gd name="connsiteX0" fmla="*/ 15272 w 342085"/>
                  <a:gd name="connsiteY0" fmla="*/ 145590 h 154752"/>
                  <a:gd name="connsiteX1" fmla="*/ 328850 w 342085"/>
                  <a:gd name="connsiteY1" fmla="*/ 15272 h 154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85" h="154752">
                    <a:moveTo>
                      <a:pt x="15272" y="145590"/>
                    </a:moveTo>
                    <a:cubicBezTo>
                      <a:pt x="15272" y="145590"/>
                      <a:pt x="79617" y="15272"/>
                      <a:pt x="328850" y="15272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cxnSp>
          <p:nvCxnSpPr>
            <p:cNvPr id="70" name="Gerader Verbinder 16">
              <a:extLst>
                <a:ext uri="{FF2B5EF4-FFF2-40B4-BE49-F238E27FC236}">
                  <a16:creationId xmlns:a16="http://schemas.microsoft.com/office/drawing/2014/main" id="{FABC80CD-E850-4B46-9740-3D5DBE29144D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2856712" y="3488210"/>
              <a:ext cx="1647911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86" name="Gruppieren 69">
            <a:extLst>
              <a:ext uri="{FF2B5EF4-FFF2-40B4-BE49-F238E27FC236}">
                <a16:creationId xmlns:a16="http://schemas.microsoft.com/office/drawing/2014/main" id="{D115A714-B8AD-4436-B202-916CD52505BA}"/>
              </a:ext>
            </a:extLst>
          </p:cNvPr>
          <p:cNvGrpSpPr/>
          <p:nvPr/>
        </p:nvGrpSpPr>
        <p:grpSpPr>
          <a:xfrm>
            <a:off x="10083614" y="3626057"/>
            <a:ext cx="1647911" cy="1981628"/>
            <a:chOff x="5157241" y="2709438"/>
            <a:chExt cx="1647911" cy="1981628"/>
          </a:xfrm>
        </p:grpSpPr>
        <p:sp>
          <p:nvSpPr>
            <p:cNvPr id="87" name="Textfeld 35">
              <a:extLst>
                <a:ext uri="{FF2B5EF4-FFF2-40B4-BE49-F238E27FC236}">
                  <a16:creationId xmlns:a16="http://schemas.microsoft.com/office/drawing/2014/main" id="{27BE8D14-475C-4EEF-B724-B0242C2D9010}"/>
                </a:ext>
              </a:extLst>
            </p:cNvPr>
            <p:cNvSpPr txBox="1"/>
            <p:nvPr/>
          </p:nvSpPr>
          <p:spPr bwMode="ltGray">
            <a:xfrm>
              <a:off x="5157241" y="3706181"/>
              <a:ext cx="1517071" cy="984885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-5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/>
                </a:rPr>
                <a:t>33</a:t>
              </a:r>
            </a:p>
            <a:p>
              <a:pPr lvl="0">
                <a:defRPr/>
              </a:pPr>
              <a:r>
                <a:rPr lang="en-US" sz="1600" spc="-5">
                  <a:solidFill>
                    <a:schemeClr val="bg1"/>
                  </a:solidFill>
                  <a:cs typeface="Arial"/>
                </a:rPr>
                <a:t>Manufacturing locations</a:t>
              </a:r>
            </a:p>
          </p:txBody>
        </p:sp>
        <p:sp>
          <p:nvSpPr>
            <p:cNvPr id="88" name="Grafik 26">
              <a:extLst>
                <a:ext uri="{FF2B5EF4-FFF2-40B4-BE49-F238E27FC236}">
                  <a16:creationId xmlns:a16="http://schemas.microsoft.com/office/drawing/2014/main" id="{22D2C487-D4D7-445F-80ED-F0601B8D8A00}"/>
                </a:ext>
              </a:extLst>
            </p:cNvPr>
            <p:cNvSpPr>
              <a:spLocks noChangeAspect="1"/>
            </p:cNvSpPr>
            <p:nvPr/>
          </p:nvSpPr>
          <p:spPr bwMode="ltGray">
            <a:xfrm>
              <a:off x="5173570" y="2709438"/>
              <a:ext cx="895629" cy="540000"/>
            </a:xfrm>
            <a:custGeom>
              <a:avLst/>
              <a:gdLst>
                <a:gd name="connsiteX0" fmla="*/ 2784794 w 3156108"/>
                <a:gd name="connsiteY0" fmla="*/ 1578073 h 1902904"/>
                <a:gd name="connsiteX1" fmla="*/ 2227867 w 3156108"/>
                <a:gd name="connsiteY1" fmla="*/ 1578073 h 1902904"/>
                <a:gd name="connsiteX2" fmla="*/ 2227867 w 3156108"/>
                <a:gd name="connsiteY2" fmla="*/ 1160306 h 1902904"/>
                <a:gd name="connsiteX3" fmla="*/ 2784794 w 3156108"/>
                <a:gd name="connsiteY3" fmla="*/ 1160306 h 1902904"/>
                <a:gd name="connsiteX4" fmla="*/ 2784794 w 3156108"/>
                <a:gd name="connsiteY4" fmla="*/ 1578073 h 1902904"/>
                <a:gd name="connsiteX5" fmla="*/ 1856487 w 3156108"/>
                <a:gd name="connsiteY5" fmla="*/ 1578073 h 1902904"/>
                <a:gd name="connsiteX6" fmla="*/ 1299560 w 3156108"/>
                <a:gd name="connsiteY6" fmla="*/ 1578073 h 1902904"/>
                <a:gd name="connsiteX7" fmla="*/ 1299560 w 3156108"/>
                <a:gd name="connsiteY7" fmla="*/ 1160306 h 1902904"/>
                <a:gd name="connsiteX8" fmla="*/ 1856392 w 3156108"/>
                <a:gd name="connsiteY8" fmla="*/ 1160306 h 1902904"/>
                <a:gd name="connsiteX9" fmla="*/ 1856392 w 3156108"/>
                <a:gd name="connsiteY9" fmla="*/ 1578073 h 1902904"/>
                <a:gd name="connsiteX10" fmla="*/ 928276 w 3156108"/>
                <a:gd name="connsiteY10" fmla="*/ 1578073 h 1902904"/>
                <a:gd name="connsiteX11" fmla="*/ 371254 w 3156108"/>
                <a:gd name="connsiteY11" fmla="*/ 1578073 h 1902904"/>
                <a:gd name="connsiteX12" fmla="*/ 371254 w 3156108"/>
                <a:gd name="connsiteY12" fmla="*/ 1160306 h 1902904"/>
                <a:gd name="connsiteX13" fmla="*/ 928276 w 3156108"/>
                <a:gd name="connsiteY13" fmla="*/ 1160306 h 1902904"/>
                <a:gd name="connsiteX14" fmla="*/ 928276 w 3156108"/>
                <a:gd name="connsiteY14" fmla="*/ 1578073 h 1902904"/>
                <a:gd name="connsiteX15" fmla="*/ -31 w 3156108"/>
                <a:gd name="connsiteY15" fmla="*/ 650147 h 1902904"/>
                <a:gd name="connsiteX16" fmla="*/ -31 w 3156108"/>
                <a:gd name="connsiteY16" fmla="*/ 1902970 h 1902904"/>
                <a:gd name="connsiteX17" fmla="*/ 3156078 w 3156108"/>
                <a:gd name="connsiteY17" fmla="*/ 1902970 h 1902904"/>
                <a:gd name="connsiteX18" fmla="*/ 3156078 w 3156108"/>
                <a:gd name="connsiteY18" fmla="*/ 66 h 1902904"/>
                <a:gd name="connsiteX19" fmla="*/ 2033366 w 3156108"/>
                <a:gd name="connsiteY19" fmla="*/ 621572 h 1902904"/>
                <a:gd name="connsiteX20" fmla="*/ 2033366 w 3156108"/>
                <a:gd name="connsiteY20" fmla="*/ 66 h 1902904"/>
                <a:gd name="connsiteX21" fmla="*/ 1115252 w 3156108"/>
                <a:gd name="connsiteY21" fmla="*/ 621572 h 1902904"/>
                <a:gd name="connsiteX22" fmla="*/ 1115252 w 3156108"/>
                <a:gd name="connsiteY22" fmla="*/ 66 h 1902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156108" h="1902904">
                  <a:moveTo>
                    <a:pt x="2784794" y="1578073"/>
                  </a:moveTo>
                  <a:lnTo>
                    <a:pt x="2227867" y="1578073"/>
                  </a:lnTo>
                  <a:lnTo>
                    <a:pt x="2227867" y="1160306"/>
                  </a:lnTo>
                  <a:lnTo>
                    <a:pt x="2784794" y="1160306"/>
                  </a:lnTo>
                  <a:lnTo>
                    <a:pt x="2784794" y="1578073"/>
                  </a:lnTo>
                  <a:close/>
                  <a:moveTo>
                    <a:pt x="1856487" y="1578073"/>
                  </a:moveTo>
                  <a:lnTo>
                    <a:pt x="1299560" y="1578073"/>
                  </a:lnTo>
                  <a:lnTo>
                    <a:pt x="1299560" y="1160306"/>
                  </a:lnTo>
                  <a:lnTo>
                    <a:pt x="1856392" y="1160306"/>
                  </a:lnTo>
                  <a:lnTo>
                    <a:pt x="1856392" y="1578073"/>
                  </a:lnTo>
                  <a:close/>
                  <a:moveTo>
                    <a:pt x="928276" y="1578073"/>
                  </a:moveTo>
                  <a:lnTo>
                    <a:pt x="371254" y="1578073"/>
                  </a:lnTo>
                  <a:lnTo>
                    <a:pt x="371254" y="1160306"/>
                  </a:lnTo>
                  <a:lnTo>
                    <a:pt x="928276" y="1160306"/>
                  </a:lnTo>
                  <a:lnTo>
                    <a:pt x="928276" y="1578073"/>
                  </a:lnTo>
                  <a:close/>
                  <a:moveTo>
                    <a:pt x="-31" y="650147"/>
                  </a:moveTo>
                  <a:lnTo>
                    <a:pt x="-31" y="1902970"/>
                  </a:lnTo>
                  <a:lnTo>
                    <a:pt x="3156078" y="1902970"/>
                  </a:lnTo>
                  <a:lnTo>
                    <a:pt x="3156078" y="66"/>
                  </a:lnTo>
                  <a:lnTo>
                    <a:pt x="2033366" y="621572"/>
                  </a:lnTo>
                  <a:lnTo>
                    <a:pt x="2033366" y="66"/>
                  </a:lnTo>
                  <a:lnTo>
                    <a:pt x="1115252" y="621572"/>
                  </a:lnTo>
                  <a:lnTo>
                    <a:pt x="1115252" y="66"/>
                  </a:lnTo>
                  <a:close/>
                </a:path>
              </a:pathLst>
            </a:custGeom>
            <a:noFill/>
            <a:ln w="15875" cap="rnd">
              <a:solidFill>
                <a:schemeClr val="bg2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cxnSp>
          <p:nvCxnSpPr>
            <p:cNvPr id="89" name="Gerader Verbinder 16">
              <a:extLst>
                <a:ext uri="{FF2B5EF4-FFF2-40B4-BE49-F238E27FC236}">
                  <a16:creationId xmlns:a16="http://schemas.microsoft.com/office/drawing/2014/main" id="{C02E6957-D5A3-4E87-A708-4D8C4E48371F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5157241" y="3488210"/>
              <a:ext cx="1647911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91" name="Gruppieren 70">
            <a:extLst>
              <a:ext uri="{FF2B5EF4-FFF2-40B4-BE49-F238E27FC236}">
                <a16:creationId xmlns:a16="http://schemas.microsoft.com/office/drawing/2014/main" id="{3E971E74-2FE9-4693-922A-1777E4880EC6}"/>
              </a:ext>
            </a:extLst>
          </p:cNvPr>
          <p:cNvGrpSpPr/>
          <p:nvPr/>
        </p:nvGrpSpPr>
        <p:grpSpPr>
          <a:xfrm>
            <a:off x="6322682" y="782769"/>
            <a:ext cx="1659197" cy="1840821"/>
            <a:chOff x="7513770" y="2612045"/>
            <a:chExt cx="1659197" cy="1840821"/>
          </a:xfrm>
        </p:grpSpPr>
        <p:sp>
          <p:nvSpPr>
            <p:cNvPr id="93" name="Textfeld 36">
              <a:extLst>
                <a:ext uri="{FF2B5EF4-FFF2-40B4-BE49-F238E27FC236}">
                  <a16:creationId xmlns:a16="http://schemas.microsoft.com/office/drawing/2014/main" id="{FAC696E6-0353-4D2D-A4E4-18E4DF71C2B6}"/>
                </a:ext>
              </a:extLst>
            </p:cNvPr>
            <p:cNvSpPr txBox="1"/>
            <p:nvPr/>
          </p:nvSpPr>
          <p:spPr bwMode="ltGray">
            <a:xfrm>
              <a:off x="7513770" y="3714202"/>
              <a:ext cx="1517071" cy="73866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pPr lvl="0">
                <a:defRPr/>
              </a:pPr>
              <a:r>
                <a:rPr lang="en-US" sz="3200" b="1" spc="-5">
                  <a:solidFill>
                    <a:schemeClr val="bg1"/>
                  </a:solidFill>
                  <a:cs typeface="Arial"/>
                </a:rPr>
                <a:t>$17.1B</a:t>
              </a:r>
              <a:endParaRPr kumimoji="0" lang="en-US" sz="320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/>
              </a:endParaRP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i="0" u="none" strike="noStrike" kern="1200" cap="none" spc="-5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Arial"/>
                </a:rPr>
                <a:t>Annual revenue</a:t>
              </a:r>
            </a:p>
          </p:txBody>
        </p:sp>
        <p:grpSp>
          <p:nvGrpSpPr>
            <p:cNvPr id="94" name="Gruppieren 412">
              <a:extLst>
                <a:ext uri="{FF2B5EF4-FFF2-40B4-BE49-F238E27FC236}">
                  <a16:creationId xmlns:a16="http://schemas.microsoft.com/office/drawing/2014/main" id="{F83E2F19-5533-4272-B436-A7238D84232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552534" y="2612045"/>
              <a:ext cx="684304" cy="648000"/>
              <a:chOff x="5849869" y="5125158"/>
              <a:chExt cx="400912" cy="386930"/>
            </a:xfrm>
          </p:grpSpPr>
          <p:sp>
            <p:nvSpPr>
              <p:cNvPr id="96" name="Freihandform: Form 413">
                <a:extLst>
                  <a:ext uri="{FF2B5EF4-FFF2-40B4-BE49-F238E27FC236}">
                    <a16:creationId xmlns:a16="http://schemas.microsoft.com/office/drawing/2014/main" id="{755AF167-CA07-40B3-A0EE-9041DC1AD23E}"/>
                  </a:ext>
                </a:extLst>
              </p:cNvPr>
              <p:cNvSpPr/>
              <p:nvPr/>
            </p:nvSpPr>
            <p:spPr bwMode="gray">
              <a:xfrm>
                <a:off x="6173240" y="5155310"/>
                <a:ext cx="30754" cy="61442"/>
              </a:xfrm>
              <a:custGeom>
                <a:avLst/>
                <a:gdLst>
                  <a:gd name="connsiteX0" fmla="*/ -219 w 46485"/>
                  <a:gd name="connsiteY0" fmla="*/ 70866 h 92869"/>
                  <a:gd name="connsiteX1" fmla="*/ 24460 w 46485"/>
                  <a:gd name="connsiteY1" fmla="*/ 92573 h 92869"/>
                  <a:gd name="connsiteX2" fmla="*/ 46168 w 46485"/>
                  <a:gd name="connsiteY2" fmla="*/ 70866 h 92869"/>
                  <a:gd name="connsiteX3" fmla="*/ 22927 w 46485"/>
                  <a:gd name="connsiteY3" fmla="*/ 47625 h 92869"/>
                  <a:gd name="connsiteX4" fmla="*/ -219 w 46485"/>
                  <a:gd name="connsiteY4" fmla="*/ 24479 h 92869"/>
                  <a:gd name="connsiteX5" fmla="*/ 21488 w 46485"/>
                  <a:gd name="connsiteY5" fmla="*/ -200 h 92869"/>
                  <a:gd name="connsiteX6" fmla="*/ 46168 w 46485"/>
                  <a:gd name="connsiteY6" fmla="*/ 21507 h 92869"/>
                  <a:gd name="connsiteX7" fmla="*/ 46168 w 46485"/>
                  <a:gd name="connsiteY7" fmla="*/ 24479 h 92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485" h="92869">
                    <a:moveTo>
                      <a:pt x="-219" y="70866"/>
                    </a:moveTo>
                    <a:cubicBezTo>
                      <a:pt x="600" y="83677"/>
                      <a:pt x="11649" y="93392"/>
                      <a:pt x="24460" y="92573"/>
                    </a:cubicBezTo>
                    <a:cubicBezTo>
                      <a:pt x="36128" y="91821"/>
                      <a:pt x="45415" y="82534"/>
                      <a:pt x="46168" y="70866"/>
                    </a:cubicBezTo>
                    <a:cubicBezTo>
                      <a:pt x="46168" y="58197"/>
                      <a:pt x="36643" y="51816"/>
                      <a:pt x="22927" y="47625"/>
                    </a:cubicBezTo>
                    <a:cubicBezTo>
                      <a:pt x="9211" y="43434"/>
                      <a:pt x="-219" y="37147"/>
                      <a:pt x="-219" y="24479"/>
                    </a:cubicBezTo>
                    <a:cubicBezTo>
                      <a:pt x="-1038" y="11668"/>
                      <a:pt x="8677" y="619"/>
                      <a:pt x="21488" y="-200"/>
                    </a:cubicBezTo>
                    <a:cubicBezTo>
                      <a:pt x="34300" y="-1020"/>
                      <a:pt x="45348" y="8696"/>
                      <a:pt x="46168" y="21507"/>
                    </a:cubicBezTo>
                    <a:cubicBezTo>
                      <a:pt x="46234" y="22498"/>
                      <a:pt x="46234" y="23488"/>
                      <a:pt x="46168" y="24479"/>
                    </a:cubicBez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7" name="Freihandform: Form 414">
                <a:extLst>
                  <a:ext uri="{FF2B5EF4-FFF2-40B4-BE49-F238E27FC236}">
                    <a16:creationId xmlns:a16="http://schemas.microsoft.com/office/drawing/2014/main" id="{E3B9A3BA-2F8C-47B5-BC69-4872B9578D20}"/>
                  </a:ext>
                </a:extLst>
              </p:cNvPr>
              <p:cNvSpPr/>
              <p:nvPr/>
            </p:nvSpPr>
            <p:spPr bwMode="gray">
              <a:xfrm>
                <a:off x="6188649" y="5147597"/>
                <a:ext cx="6302" cy="8633"/>
              </a:xfrm>
              <a:custGeom>
                <a:avLst/>
                <a:gdLst>
                  <a:gd name="connsiteX0" fmla="*/ 0 w 9525"/>
                  <a:gd name="connsiteY0" fmla="*/ 0 h 13049"/>
                  <a:gd name="connsiteX1" fmla="*/ 0 w 9525"/>
                  <a:gd name="connsiteY1" fmla="*/ 13049 h 1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3049">
                    <a:moveTo>
                      <a:pt x="0" y="0"/>
                    </a:moveTo>
                    <a:lnTo>
                      <a:pt x="0" y="13049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8" name="Freihandform: Form 415">
                <a:extLst>
                  <a:ext uri="{FF2B5EF4-FFF2-40B4-BE49-F238E27FC236}">
                    <a16:creationId xmlns:a16="http://schemas.microsoft.com/office/drawing/2014/main" id="{41233806-F224-47A9-9B16-2805426C44BF}"/>
                  </a:ext>
                </a:extLst>
              </p:cNvPr>
              <p:cNvSpPr/>
              <p:nvPr/>
            </p:nvSpPr>
            <p:spPr bwMode="gray">
              <a:xfrm>
                <a:off x="6188649" y="5217672"/>
                <a:ext cx="6302" cy="8822"/>
              </a:xfrm>
              <a:custGeom>
                <a:avLst/>
                <a:gdLst>
                  <a:gd name="connsiteX0" fmla="*/ 0 w 9525"/>
                  <a:gd name="connsiteY0" fmla="*/ 0 h 13335"/>
                  <a:gd name="connsiteX1" fmla="*/ 0 w 9525"/>
                  <a:gd name="connsiteY1" fmla="*/ 13335 h 13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3335">
                    <a:moveTo>
                      <a:pt x="0" y="0"/>
                    </a:moveTo>
                    <a:lnTo>
                      <a:pt x="0" y="13335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99" name="Freihandform: Form 416">
                <a:extLst>
                  <a:ext uri="{FF2B5EF4-FFF2-40B4-BE49-F238E27FC236}">
                    <a16:creationId xmlns:a16="http://schemas.microsoft.com/office/drawing/2014/main" id="{6C5BC881-7A1B-4FBA-A677-DB8BB0586A97}"/>
                  </a:ext>
                </a:extLst>
              </p:cNvPr>
              <p:cNvSpPr/>
              <p:nvPr/>
            </p:nvSpPr>
            <p:spPr bwMode="gray">
              <a:xfrm>
                <a:off x="5973822" y="5300224"/>
                <a:ext cx="3593" cy="3593"/>
              </a:xfrm>
              <a:custGeom>
                <a:avLst/>
                <a:gdLst>
                  <a:gd name="connsiteX0" fmla="*/ 5164 w 5431"/>
                  <a:gd name="connsiteY0" fmla="*/ 2421 h 5431"/>
                  <a:gd name="connsiteX1" fmla="*/ 2497 w 5431"/>
                  <a:gd name="connsiteY1" fmla="*/ -246 h 5431"/>
                  <a:gd name="connsiteX2" fmla="*/ 2402 w 5431"/>
                  <a:gd name="connsiteY2" fmla="*/ -246 h 5431"/>
                  <a:gd name="connsiteX3" fmla="*/ -265 w 5431"/>
                  <a:gd name="connsiteY3" fmla="*/ 2230 h 5431"/>
                  <a:gd name="connsiteX4" fmla="*/ -265 w 5431"/>
                  <a:gd name="connsiteY4" fmla="*/ 2421 h 5431"/>
                  <a:gd name="connsiteX5" fmla="*/ -265 w 5431"/>
                  <a:gd name="connsiteY5" fmla="*/ 2421 h 5431"/>
                  <a:gd name="connsiteX6" fmla="*/ 2306 w 5431"/>
                  <a:gd name="connsiteY6" fmla="*/ 5183 h 5431"/>
                  <a:gd name="connsiteX7" fmla="*/ 2402 w 5431"/>
                  <a:gd name="connsiteY7" fmla="*/ 5183 h 5431"/>
                  <a:gd name="connsiteX8" fmla="*/ 2402 w 5431"/>
                  <a:gd name="connsiteY8" fmla="*/ 5183 h 5431"/>
                  <a:gd name="connsiteX9" fmla="*/ 5164 w 5431"/>
                  <a:gd name="connsiteY9" fmla="*/ 2421 h 54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31" h="5431">
                    <a:moveTo>
                      <a:pt x="5164" y="2421"/>
                    </a:moveTo>
                    <a:cubicBezTo>
                      <a:pt x="5164" y="944"/>
                      <a:pt x="3973" y="-246"/>
                      <a:pt x="2497" y="-246"/>
                    </a:cubicBezTo>
                    <a:cubicBezTo>
                      <a:pt x="2468" y="-246"/>
                      <a:pt x="2430" y="-246"/>
                      <a:pt x="2402" y="-246"/>
                    </a:cubicBezTo>
                    <a:cubicBezTo>
                      <a:pt x="982" y="-304"/>
                      <a:pt x="-208" y="811"/>
                      <a:pt x="-265" y="2230"/>
                    </a:cubicBezTo>
                    <a:cubicBezTo>
                      <a:pt x="-265" y="2287"/>
                      <a:pt x="-265" y="2354"/>
                      <a:pt x="-265" y="2421"/>
                    </a:cubicBezTo>
                    <a:lnTo>
                      <a:pt x="-265" y="2421"/>
                    </a:lnTo>
                    <a:cubicBezTo>
                      <a:pt x="-322" y="3897"/>
                      <a:pt x="830" y="5126"/>
                      <a:pt x="2306" y="5183"/>
                    </a:cubicBezTo>
                    <a:cubicBezTo>
                      <a:pt x="2335" y="5183"/>
                      <a:pt x="2373" y="5183"/>
                      <a:pt x="2402" y="5183"/>
                    </a:cubicBezTo>
                    <a:lnTo>
                      <a:pt x="2402" y="5183"/>
                    </a:lnTo>
                    <a:cubicBezTo>
                      <a:pt x="3926" y="5183"/>
                      <a:pt x="5164" y="3945"/>
                      <a:pt x="5164" y="2421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0" name="Freihandform: Form 417">
                <a:extLst>
                  <a:ext uri="{FF2B5EF4-FFF2-40B4-BE49-F238E27FC236}">
                    <a16:creationId xmlns:a16="http://schemas.microsoft.com/office/drawing/2014/main" id="{24B89D69-E248-49F1-96AC-56597FADF985}"/>
                  </a:ext>
                </a:extLst>
              </p:cNvPr>
              <p:cNvSpPr/>
              <p:nvPr/>
            </p:nvSpPr>
            <p:spPr bwMode="gray">
              <a:xfrm>
                <a:off x="5849869" y="5505786"/>
                <a:ext cx="357937" cy="6302"/>
              </a:xfrm>
              <a:custGeom>
                <a:avLst/>
                <a:gdLst>
                  <a:gd name="connsiteX0" fmla="*/ 0 w 541020"/>
                  <a:gd name="connsiteY0" fmla="*/ 0 h 9525"/>
                  <a:gd name="connsiteX1" fmla="*/ 541020 w 54102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1020" h="9525">
                    <a:moveTo>
                      <a:pt x="0" y="0"/>
                    </a:moveTo>
                    <a:lnTo>
                      <a:pt x="541020" y="0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1" name="Freihandform: Form 418">
                <a:extLst>
                  <a:ext uri="{FF2B5EF4-FFF2-40B4-BE49-F238E27FC236}">
                    <a16:creationId xmlns:a16="http://schemas.microsoft.com/office/drawing/2014/main" id="{90FA2C9C-BF64-4DE5-862E-4A458A127E2C}"/>
                  </a:ext>
                </a:extLst>
              </p:cNvPr>
              <p:cNvSpPr/>
              <p:nvPr/>
            </p:nvSpPr>
            <p:spPr bwMode="gray">
              <a:xfrm>
                <a:off x="5849869" y="5410505"/>
                <a:ext cx="39322" cy="64151"/>
              </a:xfrm>
              <a:custGeom>
                <a:avLst/>
                <a:gdLst>
                  <a:gd name="connsiteX0" fmla="*/ 0 w 59435"/>
                  <a:gd name="connsiteY0" fmla="*/ 0 h 96964"/>
                  <a:gd name="connsiteX1" fmla="*/ 59436 w 59435"/>
                  <a:gd name="connsiteY1" fmla="*/ 0 h 96964"/>
                  <a:gd name="connsiteX2" fmla="*/ 59436 w 59435"/>
                  <a:gd name="connsiteY2" fmla="*/ 96965 h 96964"/>
                  <a:gd name="connsiteX3" fmla="*/ 0 w 59435"/>
                  <a:gd name="connsiteY3" fmla="*/ 96965 h 96964"/>
                  <a:gd name="connsiteX4" fmla="*/ 0 w 59435"/>
                  <a:gd name="connsiteY4" fmla="*/ 0 h 96964"/>
                  <a:gd name="connsiteX5" fmla="*/ 0 w 59435"/>
                  <a:gd name="connsiteY5" fmla="*/ 0 h 96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435" h="96964">
                    <a:moveTo>
                      <a:pt x="0" y="0"/>
                    </a:moveTo>
                    <a:lnTo>
                      <a:pt x="59436" y="0"/>
                    </a:lnTo>
                    <a:lnTo>
                      <a:pt x="59436" y="96965"/>
                    </a:lnTo>
                    <a:lnTo>
                      <a:pt x="0" y="9696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02" name="Freihandform: Form 419">
                <a:extLst>
                  <a:ext uri="{FF2B5EF4-FFF2-40B4-BE49-F238E27FC236}">
                    <a16:creationId xmlns:a16="http://schemas.microsoft.com/office/drawing/2014/main" id="{1ADA9EA5-064C-47C3-B7F5-58A0361BC75C}"/>
                  </a:ext>
                </a:extLst>
              </p:cNvPr>
              <p:cNvSpPr/>
              <p:nvPr/>
            </p:nvSpPr>
            <p:spPr bwMode="gray">
              <a:xfrm>
                <a:off x="6168987" y="5281383"/>
                <a:ext cx="39323" cy="190500"/>
              </a:xfrm>
              <a:custGeom>
                <a:avLst/>
                <a:gdLst>
                  <a:gd name="connsiteX0" fmla="*/ 0 w 59436"/>
                  <a:gd name="connsiteY0" fmla="*/ 0 h 287940"/>
                  <a:gd name="connsiteX1" fmla="*/ 59436 w 59436"/>
                  <a:gd name="connsiteY1" fmla="*/ 0 h 287940"/>
                  <a:gd name="connsiteX2" fmla="*/ 59436 w 59436"/>
                  <a:gd name="connsiteY2" fmla="*/ 287941 h 287940"/>
                  <a:gd name="connsiteX3" fmla="*/ 0 w 59436"/>
                  <a:gd name="connsiteY3" fmla="*/ 287941 h 287940"/>
                  <a:gd name="connsiteX4" fmla="*/ 0 w 59436"/>
                  <a:gd name="connsiteY4" fmla="*/ 0 h 287940"/>
                  <a:gd name="connsiteX5" fmla="*/ 0 w 59436"/>
                  <a:gd name="connsiteY5" fmla="*/ 0 h 287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436" h="287940">
                    <a:moveTo>
                      <a:pt x="0" y="0"/>
                    </a:moveTo>
                    <a:lnTo>
                      <a:pt x="59436" y="0"/>
                    </a:lnTo>
                    <a:lnTo>
                      <a:pt x="59436" y="287941"/>
                    </a:lnTo>
                    <a:lnTo>
                      <a:pt x="0" y="28794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7" name="Freihandform: Form 420">
                <a:extLst>
                  <a:ext uri="{FF2B5EF4-FFF2-40B4-BE49-F238E27FC236}">
                    <a16:creationId xmlns:a16="http://schemas.microsoft.com/office/drawing/2014/main" id="{47242159-DEC3-4455-8CD7-46BA28C29062}"/>
                  </a:ext>
                </a:extLst>
              </p:cNvPr>
              <p:cNvSpPr/>
              <p:nvPr/>
            </p:nvSpPr>
            <p:spPr bwMode="gray">
              <a:xfrm>
                <a:off x="5956494" y="5383785"/>
                <a:ext cx="39322" cy="91564"/>
              </a:xfrm>
              <a:custGeom>
                <a:avLst/>
                <a:gdLst>
                  <a:gd name="connsiteX0" fmla="*/ 0 w 59435"/>
                  <a:gd name="connsiteY0" fmla="*/ 0 h 138398"/>
                  <a:gd name="connsiteX1" fmla="*/ 59436 w 59435"/>
                  <a:gd name="connsiteY1" fmla="*/ 0 h 138398"/>
                  <a:gd name="connsiteX2" fmla="*/ 59436 w 59435"/>
                  <a:gd name="connsiteY2" fmla="*/ 138398 h 138398"/>
                  <a:gd name="connsiteX3" fmla="*/ 0 w 59435"/>
                  <a:gd name="connsiteY3" fmla="*/ 138398 h 138398"/>
                  <a:gd name="connsiteX4" fmla="*/ 0 w 59435"/>
                  <a:gd name="connsiteY4" fmla="*/ 0 h 138398"/>
                  <a:gd name="connsiteX5" fmla="*/ 0 w 59435"/>
                  <a:gd name="connsiteY5" fmla="*/ 0 h 1383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435" h="138398">
                    <a:moveTo>
                      <a:pt x="0" y="0"/>
                    </a:moveTo>
                    <a:lnTo>
                      <a:pt x="59436" y="0"/>
                    </a:lnTo>
                    <a:lnTo>
                      <a:pt x="59436" y="138398"/>
                    </a:lnTo>
                    <a:lnTo>
                      <a:pt x="0" y="13839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8" name="Freihandform: Form 421">
                <a:extLst>
                  <a:ext uri="{FF2B5EF4-FFF2-40B4-BE49-F238E27FC236}">
                    <a16:creationId xmlns:a16="http://schemas.microsoft.com/office/drawing/2014/main" id="{22581EC3-A6B2-4D9D-A090-948CF73C4A2B}"/>
                  </a:ext>
                </a:extLst>
              </p:cNvPr>
              <p:cNvSpPr/>
              <p:nvPr/>
            </p:nvSpPr>
            <p:spPr bwMode="gray">
              <a:xfrm>
                <a:off x="5948246" y="5274655"/>
                <a:ext cx="55591" cy="55594"/>
              </a:xfrm>
              <a:custGeom>
                <a:avLst/>
                <a:gdLst>
                  <a:gd name="connsiteX0" fmla="*/ 51347 w 84026"/>
                  <a:gd name="connsiteY0" fmla="*/ 872 h 84030"/>
                  <a:gd name="connsiteX1" fmla="*/ 82637 w 84026"/>
                  <a:gd name="connsiteY1" fmla="*/ 51364 h 84030"/>
                  <a:gd name="connsiteX2" fmla="*/ 32145 w 84026"/>
                  <a:gd name="connsiteY2" fmla="*/ 82663 h 84030"/>
                  <a:gd name="connsiteX3" fmla="*/ 855 w 84026"/>
                  <a:gd name="connsiteY3" fmla="*/ 32162 h 84030"/>
                  <a:gd name="connsiteX4" fmla="*/ 865 w 84026"/>
                  <a:gd name="connsiteY4" fmla="*/ 32114 h 84030"/>
                  <a:gd name="connsiteX5" fmla="*/ 51347 w 84026"/>
                  <a:gd name="connsiteY5" fmla="*/ 872 h 84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4026" h="84030">
                    <a:moveTo>
                      <a:pt x="51347" y="872"/>
                    </a:moveTo>
                    <a:cubicBezTo>
                      <a:pt x="73931" y="6177"/>
                      <a:pt x="87942" y="28780"/>
                      <a:pt x="82637" y="51364"/>
                    </a:cubicBezTo>
                    <a:cubicBezTo>
                      <a:pt x="77341" y="73948"/>
                      <a:pt x="54728" y="87959"/>
                      <a:pt x="32145" y="82663"/>
                    </a:cubicBezTo>
                    <a:cubicBezTo>
                      <a:pt x="9561" y="77358"/>
                      <a:pt x="-4450" y="54745"/>
                      <a:pt x="855" y="32162"/>
                    </a:cubicBezTo>
                    <a:cubicBezTo>
                      <a:pt x="855" y="32152"/>
                      <a:pt x="865" y="32133"/>
                      <a:pt x="865" y="32114"/>
                    </a:cubicBezTo>
                    <a:cubicBezTo>
                      <a:pt x="6189" y="9559"/>
                      <a:pt x="28782" y="-4424"/>
                      <a:pt x="51347" y="872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29" name="Freihandform: Form 422">
                <a:extLst>
                  <a:ext uri="{FF2B5EF4-FFF2-40B4-BE49-F238E27FC236}">
                    <a16:creationId xmlns:a16="http://schemas.microsoft.com/office/drawing/2014/main" id="{3F89CCC2-7E93-4045-A4BC-9200C72653C7}"/>
                  </a:ext>
                </a:extLst>
              </p:cNvPr>
              <p:cNvSpPr/>
              <p:nvPr/>
            </p:nvSpPr>
            <p:spPr bwMode="gray">
              <a:xfrm>
                <a:off x="6126106" y="5125158"/>
                <a:ext cx="124675" cy="124663"/>
              </a:xfrm>
              <a:custGeom>
                <a:avLst/>
                <a:gdLst>
                  <a:gd name="connsiteX0" fmla="*/ 185991 w 188445"/>
                  <a:gd name="connsiteY0" fmla="*/ 73864 h 188428"/>
                  <a:gd name="connsiteX1" fmla="*/ 114048 w 188445"/>
                  <a:gd name="connsiteY1" fmla="*/ 185993 h 188428"/>
                  <a:gd name="connsiteX2" fmla="*/ 1920 w 188445"/>
                  <a:gd name="connsiteY2" fmla="*/ 114050 h 188428"/>
                  <a:gd name="connsiteX3" fmla="*/ 73862 w 188445"/>
                  <a:gd name="connsiteY3" fmla="*/ 1922 h 188428"/>
                  <a:gd name="connsiteX4" fmla="*/ 74167 w 188445"/>
                  <a:gd name="connsiteY4" fmla="*/ 1855 h 188428"/>
                  <a:gd name="connsiteX5" fmla="*/ 185991 w 188445"/>
                  <a:gd name="connsiteY5" fmla="*/ 73864 h 188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8445" h="188428">
                    <a:moveTo>
                      <a:pt x="185991" y="73864"/>
                    </a:moveTo>
                    <a:cubicBezTo>
                      <a:pt x="197087" y="124690"/>
                      <a:pt x="164874" y="174896"/>
                      <a:pt x="114048" y="185993"/>
                    </a:cubicBezTo>
                    <a:cubicBezTo>
                      <a:pt x="63213" y="197089"/>
                      <a:pt x="13017" y="164876"/>
                      <a:pt x="1920" y="114050"/>
                    </a:cubicBezTo>
                    <a:cubicBezTo>
                      <a:pt x="-9177" y="63215"/>
                      <a:pt x="23037" y="13019"/>
                      <a:pt x="73862" y="1922"/>
                    </a:cubicBezTo>
                    <a:cubicBezTo>
                      <a:pt x="73967" y="1903"/>
                      <a:pt x="74062" y="1874"/>
                      <a:pt x="74167" y="1855"/>
                    </a:cubicBezTo>
                    <a:cubicBezTo>
                      <a:pt x="124907" y="-8994"/>
                      <a:pt x="174875" y="23182"/>
                      <a:pt x="185991" y="73864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0" name="Freihandform: Form 423">
                <a:extLst>
                  <a:ext uri="{FF2B5EF4-FFF2-40B4-BE49-F238E27FC236}">
                    <a16:creationId xmlns:a16="http://schemas.microsoft.com/office/drawing/2014/main" id="{EDB88F25-13A6-40AF-B98B-E178CF55275B}"/>
                  </a:ext>
                </a:extLst>
              </p:cNvPr>
              <p:cNvSpPr/>
              <p:nvPr/>
            </p:nvSpPr>
            <p:spPr bwMode="gray">
              <a:xfrm>
                <a:off x="6062363" y="5349000"/>
                <a:ext cx="39322" cy="123954"/>
              </a:xfrm>
              <a:custGeom>
                <a:avLst/>
                <a:gdLst>
                  <a:gd name="connsiteX0" fmla="*/ 0 w 59435"/>
                  <a:gd name="connsiteY0" fmla="*/ 0 h 187356"/>
                  <a:gd name="connsiteX1" fmla="*/ 59436 w 59435"/>
                  <a:gd name="connsiteY1" fmla="*/ 0 h 187356"/>
                  <a:gd name="connsiteX2" fmla="*/ 59436 w 59435"/>
                  <a:gd name="connsiteY2" fmla="*/ 187357 h 187356"/>
                  <a:gd name="connsiteX3" fmla="*/ 0 w 59435"/>
                  <a:gd name="connsiteY3" fmla="*/ 187357 h 187356"/>
                  <a:gd name="connsiteX4" fmla="*/ 0 w 59435"/>
                  <a:gd name="connsiteY4" fmla="*/ 0 h 187356"/>
                  <a:gd name="connsiteX5" fmla="*/ 0 w 59435"/>
                  <a:gd name="connsiteY5" fmla="*/ 0 h 187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9435" h="187356">
                    <a:moveTo>
                      <a:pt x="0" y="0"/>
                    </a:moveTo>
                    <a:lnTo>
                      <a:pt x="59436" y="0"/>
                    </a:lnTo>
                    <a:lnTo>
                      <a:pt x="59436" y="187357"/>
                    </a:lnTo>
                    <a:lnTo>
                      <a:pt x="0" y="18735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1" name="Freihandform: Form 424">
                <a:extLst>
                  <a:ext uri="{FF2B5EF4-FFF2-40B4-BE49-F238E27FC236}">
                    <a16:creationId xmlns:a16="http://schemas.microsoft.com/office/drawing/2014/main" id="{50C63D86-02C1-41CD-AC43-B5863BC5757F}"/>
                  </a:ext>
                </a:extLst>
              </p:cNvPr>
              <p:cNvSpPr/>
              <p:nvPr/>
            </p:nvSpPr>
            <p:spPr bwMode="gray">
              <a:xfrm>
                <a:off x="6065324" y="5259390"/>
                <a:ext cx="33273" cy="33272"/>
              </a:xfrm>
              <a:custGeom>
                <a:avLst/>
                <a:gdLst>
                  <a:gd name="connsiteX0" fmla="*/ 50025 w 50292"/>
                  <a:gd name="connsiteY0" fmla="*/ 24898 h 50291"/>
                  <a:gd name="connsiteX1" fmla="*/ 24879 w 50292"/>
                  <a:gd name="connsiteY1" fmla="*/ 50043 h 50291"/>
                  <a:gd name="connsiteX2" fmla="*/ -267 w 50292"/>
                  <a:gd name="connsiteY2" fmla="*/ 24898 h 50291"/>
                  <a:gd name="connsiteX3" fmla="*/ 24879 w 50292"/>
                  <a:gd name="connsiteY3" fmla="*/ -249 h 50291"/>
                  <a:gd name="connsiteX4" fmla="*/ 50025 w 50292"/>
                  <a:gd name="connsiteY4" fmla="*/ 24898 h 50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292" h="50291">
                    <a:moveTo>
                      <a:pt x="50025" y="24898"/>
                    </a:moveTo>
                    <a:cubicBezTo>
                      <a:pt x="50025" y="38785"/>
                      <a:pt x="38766" y="50043"/>
                      <a:pt x="24879" y="50043"/>
                    </a:cubicBezTo>
                    <a:cubicBezTo>
                      <a:pt x="10991" y="50043"/>
                      <a:pt x="-267" y="38785"/>
                      <a:pt x="-267" y="24898"/>
                    </a:cubicBezTo>
                    <a:cubicBezTo>
                      <a:pt x="-267" y="11010"/>
                      <a:pt x="10991" y="-249"/>
                      <a:pt x="24879" y="-249"/>
                    </a:cubicBezTo>
                    <a:cubicBezTo>
                      <a:pt x="38766" y="-249"/>
                      <a:pt x="50025" y="11010"/>
                      <a:pt x="50025" y="24898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2" name="Freihandform: Form 425">
                <a:extLst>
                  <a:ext uri="{FF2B5EF4-FFF2-40B4-BE49-F238E27FC236}">
                    <a16:creationId xmlns:a16="http://schemas.microsoft.com/office/drawing/2014/main" id="{5BBAB457-B55E-4205-B6FF-E3EB41D40C37}"/>
                  </a:ext>
                </a:extLst>
              </p:cNvPr>
              <p:cNvSpPr/>
              <p:nvPr/>
            </p:nvSpPr>
            <p:spPr bwMode="gray">
              <a:xfrm>
                <a:off x="5851192" y="5334254"/>
                <a:ext cx="33399" cy="33399"/>
              </a:xfrm>
              <a:custGeom>
                <a:avLst/>
                <a:gdLst>
                  <a:gd name="connsiteX0" fmla="*/ 50215 w 50482"/>
                  <a:gd name="connsiteY0" fmla="*/ 24898 h 50482"/>
                  <a:gd name="connsiteX1" fmla="*/ 25069 w 50482"/>
                  <a:gd name="connsiteY1" fmla="*/ -248 h 50482"/>
                  <a:gd name="connsiteX2" fmla="*/ 25069 w 50482"/>
                  <a:gd name="connsiteY2" fmla="*/ -248 h 50482"/>
                  <a:gd name="connsiteX3" fmla="*/ -267 w 50482"/>
                  <a:gd name="connsiteY3" fmla="*/ 24898 h 50482"/>
                  <a:gd name="connsiteX4" fmla="*/ 24879 w 50482"/>
                  <a:gd name="connsiteY4" fmla="*/ 50234 h 50482"/>
                  <a:gd name="connsiteX5" fmla="*/ 50215 w 50482"/>
                  <a:gd name="connsiteY5" fmla="*/ 25088 h 50482"/>
                  <a:gd name="connsiteX6" fmla="*/ 50215 w 50482"/>
                  <a:gd name="connsiteY6" fmla="*/ 24898 h 50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0482" h="50482">
                    <a:moveTo>
                      <a:pt x="50215" y="24898"/>
                    </a:moveTo>
                    <a:cubicBezTo>
                      <a:pt x="50215" y="11010"/>
                      <a:pt x="38957" y="-248"/>
                      <a:pt x="25069" y="-248"/>
                    </a:cubicBezTo>
                    <a:lnTo>
                      <a:pt x="25069" y="-248"/>
                    </a:lnTo>
                    <a:cubicBezTo>
                      <a:pt x="11124" y="-306"/>
                      <a:pt x="-210" y="10953"/>
                      <a:pt x="-267" y="24898"/>
                    </a:cubicBezTo>
                    <a:cubicBezTo>
                      <a:pt x="-315" y="38842"/>
                      <a:pt x="10934" y="50177"/>
                      <a:pt x="24879" y="50234"/>
                    </a:cubicBezTo>
                    <a:cubicBezTo>
                      <a:pt x="38823" y="50291"/>
                      <a:pt x="50158" y="39033"/>
                      <a:pt x="50215" y="25088"/>
                    </a:cubicBezTo>
                    <a:cubicBezTo>
                      <a:pt x="50215" y="25022"/>
                      <a:pt x="50215" y="24964"/>
                      <a:pt x="50215" y="24898"/>
                    </a:cubicBezTo>
                    <a:close/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3" name="Freihandform: Form 426">
                <a:extLst>
                  <a:ext uri="{FF2B5EF4-FFF2-40B4-BE49-F238E27FC236}">
                    <a16:creationId xmlns:a16="http://schemas.microsoft.com/office/drawing/2014/main" id="{6EDDA522-6E51-4EE7-8394-76D21E65F046}"/>
                  </a:ext>
                </a:extLst>
              </p:cNvPr>
              <p:cNvSpPr/>
              <p:nvPr/>
            </p:nvSpPr>
            <p:spPr bwMode="gray">
              <a:xfrm>
                <a:off x="5883394" y="5318437"/>
                <a:ext cx="64277" cy="32517"/>
              </a:xfrm>
              <a:custGeom>
                <a:avLst/>
                <a:gdLst>
                  <a:gd name="connsiteX0" fmla="*/ 0 w 97155"/>
                  <a:gd name="connsiteY0" fmla="*/ 49149 h 49149"/>
                  <a:gd name="connsiteX1" fmla="*/ 97155 w 97155"/>
                  <a:gd name="connsiteY1" fmla="*/ 0 h 4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155" h="49149">
                    <a:moveTo>
                      <a:pt x="0" y="49149"/>
                    </a:moveTo>
                    <a:lnTo>
                      <a:pt x="97155" y="0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4" name="Freihandform: Form 427">
                <a:extLst>
                  <a:ext uri="{FF2B5EF4-FFF2-40B4-BE49-F238E27FC236}">
                    <a16:creationId xmlns:a16="http://schemas.microsoft.com/office/drawing/2014/main" id="{7A79EAD9-8A5A-4F92-A4D5-8D0948C0829A}"/>
                  </a:ext>
                </a:extLst>
              </p:cNvPr>
              <p:cNvSpPr/>
              <p:nvPr/>
            </p:nvSpPr>
            <p:spPr bwMode="gray">
              <a:xfrm>
                <a:off x="6004323" y="5279555"/>
                <a:ext cx="58227" cy="17393"/>
              </a:xfrm>
              <a:custGeom>
                <a:avLst/>
                <a:gdLst>
                  <a:gd name="connsiteX0" fmla="*/ 0 w 88010"/>
                  <a:gd name="connsiteY0" fmla="*/ 26289 h 26289"/>
                  <a:gd name="connsiteX1" fmla="*/ 88011 w 88010"/>
                  <a:gd name="connsiteY1" fmla="*/ 0 h 26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010" h="26289">
                    <a:moveTo>
                      <a:pt x="0" y="26289"/>
                    </a:moveTo>
                    <a:lnTo>
                      <a:pt x="88011" y="0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  <p:sp>
            <p:nvSpPr>
              <p:cNvPr id="135" name="Freihandform: Form 428">
                <a:extLst>
                  <a:ext uri="{FF2B5EF4-FFF2-40B4-BE49-F238E27FC236}">
                    <a16:creationId xmlns:a16="http://schemas.microsoft.com/office/drawing/2014/main" id="{F6469DA7-6D14-4BCA-AC1F-44BE962FF768}"/>
                  </a:ext>
                </a:extLst>
              </p:cNvPr>
              <p:cNvSpPr/>
              <p:nvPr/>
            </p:nvSpPr>
            <p:spPr bwMode="gray">
              <a:xfrm>
                <a:off x="6095824" y="5229267"/>
                <a:ext cx="47073" cy="37558"/>
              </a:xfrm>
              <a:custGeom>
                <a:avLst/>
                <a:gdLst>
                  <a:gd name="connsiteX0" fmla="*/ 0 w 71151"/>
                  <a:gd name="connsiteY0" fmla="*/ 56769 h 56768"/>
                  <a:gd name="connsiteX1" fmla="*/ 71152 w 71151"/>
                  <a:gd name="connsiteY1" fmla="*/ 0 h 5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151" h="56768">
                    <a:moveTo>
                      <a:pt x="0" y="56769"/>
                    </a:moveTo>
                    <a:lnTo>
                      <a:pt x="71152" y="0"/>
                    </a:lnTo>
                  </a:path>
                </a:pathLst>
              </a:custGeom>
              <a:noFill/>
              <a:ln w="15875" cap="rnd">
                <a:solidFill>
                  <a:schemeClr val="bg2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en-US"/>
              </a:p>
            </p:txBody>
          </p:sp>
        </p:grpSp>
        <p:cxnSp>
          <p:nvCxnSpPr>
            <p:cNvPr id="95" name="Gerader Verbinder 16">
              <a:extLst>
                <a:ext uri="{FF2B5EF4-FFF2-40B4-BE49-F238E27FC236}">
                  <a16:creationId xmlns:a16="http://schemas.microsoft.com/office/drawing/2014/main" id="{F8BC1BAA-1C41-4B45-BE70-C404A8E043C4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7525056" y="3488210"/>
              <a:ext cx="1647911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136" name="Gruppieren 71">
            <a:extLst>
              <a:ext uri="{FF2B5EF4-FFF2-40B4-BE49-F238E27FC236}">
                <a16:creationId xmlns:a16="http://schemas.microsoft.com/office/drawing/2014/main" id="{7871BB8E-120A-40E0-BA72-0F4BD550538A}"/>
              </a:ext>
            </a:extLst>
          </p:cNvPr>
          <p:cNvGrpSpPr/>
          <p:nvPr/>
        </p:nvGrpSpPr>
        <p:grpSpPr>
          <a:xfrm>
            <a:off x="8727677" y="795517"/>
            <a:ext cx="1706435" cy="1857096"/>
            <a:chOff x="9806243" y="2603791"/>
            <a:chExt cx="1706435" cy="1857096"/>
          </a:xfrm>
        </p:grpSpPr>
        <p:sp>
          <p:nvSpPr>
            <p:cNvPr id="137" name="Textfeld 25">
              <a:extLst>
                <a:ext uri="{FF2B5EF4-FFF2-40B4-BE49-F238E27FC236}">
                  <a16:creationId xmlns:a16="http://schemas.microsoft.com/office/drawing/2014/main" id="{10B81097-4516-41E6-B59B-497584F72F30}"/>
                </a:ext>
              </a:extLst>
            </p:cNvPr>
            <p:cNvSpPr txBox="1"/>
            <p:nvPr/>
          </p:nvSpPr>
          <p:spPr bwMode="ltGray">
            <a:xfrm>
              <a:off x="9813669" y="3722223"/>
              <a:ext cx="1699009" cy="738664"/>
            </a:xfrm>
            <a:prstGeom prst="rect">
              <a:avLst/>
            </a:prstGeom>
            <a:noFill/>
          </p:spPr>
          <p:txBody>
            <a:bodyPr wrap="square" lIns="0" tIns="0" rIns="0" bIns="0" anchor="ctr" anchorCtr="0">
              <a:spAutoFit/>
            </a:bodyPr>
            <a:lstStyle/>
            <a:p>
              <a:pPr lvl="0">
                <a:defRPr/>
              </a:pPr>
              <a:r>
                <a:rPr lang="en-US" sz="3200" b="1" spc="-5">
                  <a:solidFill>
                    <a:schemeClr val="bg1"/>
                  </a:solidFill>
                  <a:cs typeface="Arial"/>
                </a:rPr>
                <a:t>4,080 kt</a:t>
              </a:r>
              <a:endParaRPr kumimoji="0" lang="en-US" sz="3200" b="1" i="0" u="none" strike="noStrike" kern="1200" cap="none" spc="-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"/>
              </a:endParaRPr>
            </a:p>
            <a:p>
              <a:pPr lvl="0">
                <a:defRPr/>
              </a:pPr>
              <a:r>
                <a:rPr lang="en-US" sz="1600" spc="-5">
                  <a:solidFill>
                    <a:schemeClr val="bg1"/>
                  </a:solidFill>
                  <a:cs typeface="Arial"/>
                </a:rPr>
                <a:t>Annual shipments</a:t>
              </a:r>
            </a:p>
          </p:txBody>
        </p:sp>
        <p:grpSp>
          <p:nvGrpSpPr>
            <p:cNvPr id="138" name="Gruppieren 274">
              <a:extLst>
                <a:ext uri="{FF2B5EF4-FFF2-40B4-BE49-F238E27FC236}">
                  <a16:creationId xmlns:a16="http://schemas.microsoft.com/office/drawing/2014/main" id="{CFC34087-F6CE-463F-9146-FEE3F5A5726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806243" y="2603791"/>
              <a:ext cx="461597" cy="720000"/>
              <a:chOff x="4372367" y="1893998"/>
              <a:chExt cx="452709" cy="719691"/>
            </a:xfrm>
          </p:grpSpPr>
          <p:sp>
            <p:nvSpPr>
              <p:cNvPr id="140" name="Freihandform: Form 275">
                <a:extLst>
                  <a:ext uri="{FF2B5EF4-FFF2-40B4-BE49-F238E27FC236}">
                    <a16:creationId xmlns:a16="http://schemas.microsoft.com/office/drawing/2014/main" id="{EE3F1DE2-0AE5-4234-B121-001D7EC4CC13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1" name="Freihandform: Form 276">
                <a:extLst>
                  <a:ext uri="{FF2B5EF4-FFF2-40B4-BE49-F238E27FC236}">
                    <a16:creationId xmlns:a16="http://schemas.microsoft.com/office/drawing/2014/main" id="{FEF7EA6B-E91E-4924-A07D-F64BACEF08BF}"/>
                  </a:ext>
                </a:extLst>
              </p:cNvPr>
              <p:cNvSpPr/>
              <p:nvPr/>
            </p:nvSpPr>
            <p:spPr bwMode="gray">
              <a:xfrm>
                <a:off x="4372920" y="1945405"/>
                <a:ext cx="431151" cy="88441"/>
              </a:xfrm>
              <a:custGeom>
                <a:avLst/>
                <a:gdLst>
                  <a:gd name="connsiteX0" fmla="*/ 622677 w 635301"/>
                  <a:gd name="connsiteY0" fmla="*/ 111992 h 130318"/>
                  <a:gd name="connsiteX1" fmla="*/ 529011 w 635301"/>
                  <a:gd name="connsiteY1" fmla="*/ 18326 h 130318"/>
                  <a:gd name="connsiteX2" fmla="*/ 111992 w 635301"/>
                  <a:gd name="connsiteY2" fmla="*/ 18326 h 130318"/>
                  <a:gd name="connsiteX3" fmla="*/ 18326 w 635301"/>
                  <a:gd name="connsiteY3" fmla="*/ 111992 h 130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301" h="130318">
                    <a:moveTo>
                      <a:pt x="622677" y="111992"/>
                    </a:moveTo>
                    <a:cubicBezTo>
                      <a:pt x="622677" y="59865"/>
                      <a:pt x="580324" y="18326"/>
                      <a:pt x="529011" y="18326"/>
                    </a:cubicBezTo>
                    <a:lnTo>
                      <a:pt x="111992" y="18326"/>
                    </a:lnTo>
                    <a:cubicBezTo>
                      <a:pt x="59865" y="18326"/>
                      <a:pt x="18326" y="60679"/>
                      <a:pt x="18326" y="111992"/>
                    </a:cubicBez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2" name="Freihandform: Form 277">
                <a:extLst>
                  <a:ext uri="{FF2B5EF4-FFF2-40B4-BE49-F238E27FC236}">
                    <a16:creationId xmlns:a16="http://schemas.microsoft.com/office/drawing/2014/main" id="{7537D2A0-5A75-4FE9-A656-25560A26F5E5}"/>
                  </a:ext>
                </a:extLst>
              </p:cNvPr>
              <p:cNvSpPr/>
              <p:nvPr/>
            </p:nvSpPr>
            <p:spPr bwMode="gray">
              <a:xfrm>
                <a:off x="4413824" y="2035505"/>
                <a:ext cx="348237" cy="182410"/>
              </a:xfrm>
              <a:custGeom>
                <a:avLst/>
                <a:gdLst>
                  <a:gd name="connsiteX0" fmla="*/ 18326 w 513128"/>
                  <a:gd name="connsiteY0" fmla="*/ 18326 h 268781"/>
                  <a:gd name="connsiteX1" fmla="*/ 502133 w 513128"/>
                  <a:gd name="connsiteY1" fmla="*/ 18326 h 268781"/>
                  <a:gd name="connsiteX2" fmla="*/ 502133 w 513128"/>
                  <a:gd name="connsiteY2" fmla="*/ 250455 h 268781"/>
                  <a:gd name="connsiteX3" fmla="*/ 18326 w 513128"/>
                  <a:gd name="connsiteY3" fmla="*/ 250455 h 268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3128" h="268781">
                    <a:moveTo>
                      <a:pt x="18326" y="18326"/>
                    </a:moveTo>
                    <a:lnTo>
                      <a:pt x="502133" y="18326"/>
                    </a:lnTo>
                    <a:lnTo>
                      <a:pt x="502133" y="250455"/>
                    </a:lnTo>
                    <a:lnTo>
                      <a:pt x="18326" y="250455"/>
                    </a:lnTo>
                    <a:close/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3" name="Freihandform: Form 278">
                <a:extLst>
                  <a:ext uri="{FF2B5EF4-FFF2-40B4-BE49-F238E27FC236}">
                    <a16:creationId xmlns:a16="http://schemas.microsoft.com/office/drawing/2014/main" id="{71A5F82A-9C9D-47EB-A1A2-65C3E80BFD33}"/>
                  </a:ext>
                </a:extLst>
              </p:cNvPr>
              <p:cNvSpPr/>
              <p:nvPr/>
            </p:nvSpPr>
            <p:spPr bwMode="gray">
              <a:xfrm>
                <a:off x="4383423" y="2436806"/>
                <a:ext cx="77386" cy="176883"/>
              </a:xfrm>
              <a:custGeom>
                <a:avLst/>
                <a:gdLst>
                  <a:gd name="connsiteX0" fmla="*/ 103033 w 114028"/>
                  <a:gd name="connsiteY0" fmla="*/ 18326 h 260636"/>
                  <a:gd name="connsiteX1" fmla="*/ 18326 w 114028"/>
                  <a:gd name="connsiteY1" fmla="*/ 243940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028" h="260636">
                    <a:moveTo>
                      <a:pt x="103033" y="18326"/>
                    </a:moveTo>
                    <a:lnTo>
                      <a:pt x="18326" y="243940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4" name="Freihandform: Form 279">
                <a:extLst>
                  <a:ext uri="{FF2B5EF4-FFF2-40B4-BE49-F238E27FC236}">
                    <a16:creationId xmlns:a16="http://schemas.microsoft.com/office/drawing/2014/main" id="{EF466F85-43D2-4605-9358-6AA85DFE718F}"/>
                  </a:ext>
                </a:extLst>
              </p:cNvPr>
              <p:cNvSpPr/>
              <p:nvPr/>
            </p:nvSpPr>
            <p:spPr bwMode="gray">
              <a:xfrm>
                <a:off x="4714524" y="2436806"/>
                <a:ext cx="77386" cy="176883"/>
              </a:xfrm>
              <a:custGeom>
                <a:avLst/>
                <a:gdLst>
                  <a:gd name="connsiteX0" fmla="*/ 18326 w 114028"/>
                  <a:gd name="connsiteY0" fmla="*/ 18326 h 260636"/>
                  <a:gd name="connsiteX1" fmla="*/ 103033 w 114028"/>
                  <a:gd name="connsiteY1" fmla="*/ 243940 h 26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028" h="260636">
                    <a:moveTo>
                      <a:pt x="18326" y="18326"/>
                    </a:moveTo>
                    <a:lnTo>
                      <a:pt x="103033" y="243940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5" name="Freihandform: Form 280">
                <a:extLst>
                  <a:ext uri="{FF2B5EF4-FFF2-40B4-BE49-F238E27FC236}">
                    <a16:creationId xmlns:a16="http://schemas.microsoft.com/office/drawing/2014/main" id="{9DACBEA3-3C7F-429D-9377-98A57697930F}"/>
                  </a:ext>
                </a:extLst>
              </p:cNvPr>
              <p:cNvSpPr/>
              <p:nvPr/>
            </p:nvSpPr>
            <p:spPr bwMode="gray">
              <a:xfrm>
                <a:off x="4472969" y="2470524"/>
                <a:ext cx="232158" cy="22111"/>
              </a:xfrm>
              <a:custGeom>
                <a:avLst/>
                <a:gdLst>
                  <a:gd name="connsiteX0" fmla="*/ 18326 w 342085"/>
                  <a:gd name="connsiteY0" fmla="*/ 18326 h 32579"/>
                  <a:gd name="connsiteX1" fmla="*/ 327017 w 342085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42085" h="32579">
                    <a:moveTo>
                      <a:pt x="18326" y="18326"/>
                    </a:moveTo>
                    <a:lnTo>
                      <a:pt x="327017" y="18326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6" name="Freihandform: Form 281">
                <a:extLst>
                  <a:ext uri="{FF2B5EF4-FFF2-40B4-BE49-F238E27FC236}">
                    <a16:creationId xmlns:a16="http://schemas.microsoft.com/office/drawing/2014/main" id="{BB293189-407A-4DFA-9E15-82EDD5105290}"/>
                  </a:ext>
                </a:extLst>
              </p:cNvPr>
              <p:cNvSpPr/>
              <p:nvPr/>
            </p:nvSpPr>
            <p:spPr bwMode="gray">
              <a:xfrm>
                <a:off x="4451412" y="2539066"/>
                <a:ext cx="276379" cy="22111"/>
              </a:xfrm>
              <a:custGeom>
                <a:avLst/>
                <a:gdLst>
                  <a:gd name="connsiteX0" fmla="*/ 18326 w 407244"/>
                  <a:gd name="connsiteY0" fmla="*/ 18326 h 32579"/>
                  <a:gd name="connsiteX1" fmla="*/ 390548 w 407244"/>
                  <a:gd name="connsiteY1" fmla="*/ 18326 h 3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7244" h="32579">
                    <a:moveTo>
                      <a:pt x="18326" y="18326"/>
                    </a:moveTo>
                    <a:lnTo>
                      <a:pt x="390548" y="18326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7" name="Freihandform: Form 282">
                <a:extLst>
                  <a:ext uri="{FF2B5EF4-FFF2-40B4-BE49-F238E27FC236}">
                    <a16:creationId xmlns:a16="http://schemas.microsoft.com/office/drawing/2014/main" id="{D440E5DB-5F2C-4711-9A81-0B3BC00B919F}"/>
                  </a:ext>
                </a:extLst>
              </p:cNvPr>
              <p:cNvSpPr/>
              <p:nvPr/>
            </p:nvSpPr>
            <p:spPr bwMode="gray">
              <a:xfrm>
                <a:off x="4457492" y="1893998"/>
                <a:ext cx="265324" cy="71859"/>
              </a:xfrm>
              <a:custGeom>
                <a:avLst/>
                <a:gdLst>
                  <a:gd name="connsiteX0" fmla="*/ 373443 w 390954"/>
                  <a:gd name="connsiteY0" fmla="*/ 94074 h 105883"/>
                  <a:gd name="connsiteX1" fmla="*/ 358783 w 390954"/>
                  <a:gd name="connsiteY1" fmla="*/ 37059 h 105883"/>
                  <a:gd name="connsiteX2" fmla="*/ 334348 w 390954"/>
                  <a:gd name="connsiteY2" fmla="*/ 18326 h 105883"/>
                  <a:gd name="connsiteX3" fmla="*/ 57421 w 390954"/>
                  <a:gd name="connsiteY3" fmla="*/ 18326 h 105883"/>
                  <a:gd name="connsiteX4" fmla="*/ 32987 w 390954"/>
                  <a:gd name="connsiteY4" fmla="*/ 37059 h 105883"/>
                  <a:gd name="connsiteX5" fmla="*/ 18326 w 390954"/>
                  <a:gd name="connsiteY5" fmla="*/ 94074 h 10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954" h="105883">
                    <a:moveTo>
                      <a:pt x="373443" y="94074"/>
                    </a:moveTo>
                    <a:lnTo>
                      <a:pt x="358783" y="37059"/>
                    </a:lnTo>
                    <a:cubicBezTo>
                      <a:pt x="355525" y="25656"/>
                      <a:pt x="345751" y="18326"/>
                      <a:pt x="334348" y="18326"/>
                    </a:cubicBezTo>
                    <a:lnTo>
                      <a:pt x="57421" y="18326"/>
                    </a:lnTo>
                    <a:cubicBezTo>
                      <a:pt x="46019" y="18326"/>
                      <a:pt x="35430" y="26471"/>
                      <a:pt x="32987" y="37059"/>
                    </a:cubicBezTo>
                    <a:lnTo>
                      <a:pt x="18326" y="94074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8" name="Freihandform: Form 283">
                <a:extLst>
                  <a:ext uri="{FF2B5EF4-FFF2-40B4-BE49-F238E27FC236}">
                    <a16:creationId xmlns:a16="http://schemas.microsoft.com/office/drawing/2014/main" id="{4D30D074-BEDA-4361-A9C2-AF4CDEEB02C9}"/>
                  </a:ext>
                </a:extLst>
              </p:cNvPr>
              <p:cNvSpPr/>
              <p:nvPr/>
            </p:nvSpPr>
            <p:spPr bwMode="gray">
              <a:xfrm>
                <a:off x="4615028" y="2008972"/>
                <a:ext cx="187937" cy="359292"/>
              </a:xfrm>
              <a:custGeom>
                <a:avLst/>
                <a:gdLst>
                  <a:gd name="connsiteX0" fmla="*/ 265931 w 276926"/>
                  <a:gd name="connsiteY0" fmla="*/ 18326 h 529418"/>
                  <a:gd name="connsiteX1" fmla="*/ 265931 w 276926"/>
                  <a:gd name="connsiteY1" fmla="*/ 397878 h 529418"/>
                  <a:gd name="connsiteX2" fmla="*/ 230093 w 276926"/>
                  <a:gd name="connsiteY2" fmla="*/ 433716 h 529418"/>
                  <a:gd name="connsiteX3" fmla="*/ 59050 w 276926"/>
                  <a:gd name="connsiteY3" fmla="*/ 433716 h 529418"/>
                  <a:gd name="connsiteX4" fmla="*/ 18326 w 276926"/>
                  <a:gd name="connsiteY4" fmla="*/ 474440 h 529418"/>
                  <a:gd name="connsiteX5" fmla="*/ 18326 w 276926"/>
                  <a:gd name="connsiteY5" fmla="*/ 474440 h 529418"/>
                  <a:gd name="connsiteX6" fmla="*/ 59050 w 276926"/>
                  <a:gd name="connsiteY6" fmla="*/ 515164 h 529418"/>
                  <a:gd name="connsiteX7" fmla="*/ 158418 w 276926"/>
                  <a:gd name="connsiteY7" fmla="*/ 515164 h 529418"/>
                  <a:gd name="connsiteX8" fmla="*/ 185296 w 276926"/>
                  <a:gd name="connsiteY8" fmla="*/ 433716 h 529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926" h="529418">
                    <a:moveTo>
                      <a:pt x="265931" y="18326"/>
                    </a:moveTo>
                    <a:lnTo>
                      <a:pt x="265931" y="397878"/>
                    </a:lnTo>
                    <a:cubicBezTo>
                      <a:pt x="265931" y="417426"/>
                      <a:pt x="249641" y="433716"/>
                      <a:pt x="230093" y="433716"/>
                    </a:cubicBezTo>
                    <a:lnTo>
                      <a:pt x="59050" y="433716"/>
                    </a:lnTo>
                    <a:cubicBezTo>
                      <a:pt x="36245" y="433716"/>
                      <a:pt x="18326" y="451634"/>
                      <a:pt x="18326" y="474440"/>
                    </a:cubicBezTo>
                    <a:lnTo>
                      <a:pt x="18326" y="474440"/>
                    </a:lnTo>
                    <a:cubicBezTo>
                      <a:pt x="18326" y="497246"/>
                      <a:pt x="36245" y="515164"/>
                      <a:pt x="59050" y="515164"/>
                    </a:cubicBezTo>
                    <a:lnTo>
                      <a:pt x="158418" y="515164"/>
                    </a:lnTo>
                    <a:lnTo>
                      <a:pt x="185296" y="433716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49" name="Freihandform: Form 284">
                <a:extLst>
                  <a:ext uri="{FF2B5EF4-FFF2-40B4-BE49-F238E27FC236}">
                    <a16:creationId xmlns:a16="http://schemas.microsoft.com/office/drawing/2014/main" id="{D09F988E-27BF-4D9D-A8E5-EB6AFD097037}"/>
                  </a:ext>
                </a:extLst>
              </p:cNvPr>
              <p:cNvSpPr/>
              <p:nvPr/>
            </p:nvSpPr>
            <p:spPr bwMode="gray">
              <a:xfrm>
                <a:off x="4372367" y="2008972"/>
                <a:ext cx="187937" cy="359292"/>
              </a:xfrm>
              <a:custGeom>
                <a:avLst/>
                <a:gdLst>
                  <a:gd name="connsiteX0" fmla="*/ 18326 w 276926"/>
                  <a:gd name="connsiteY0" fmla="*/ 18326 h 529418"/>
                  <a:gd name="connsiteX1" fmla="*/ 18326 w 276926"/>
                  <a:gd name="connsiteY1" fmla="*/ 397878 h 529418"/>
                  <a:gd name="connsiteX2" fmla="*/ 54164 w 276926"/>
                  <a:gd name="connsiteY2" fmla="*/ 433716 h 529418"/>
                  <a:gd name="connsiteX3" fmla="*/ 225206 w 276926"/>
                  <a:gd name="connsiteY3" fmla="*/ 433716 h 529418"/>
                  <a:gd name="connsiteX4" fmla="*/ 265931 w 276926"/>
                  <a:gd name="connsiteY4" fmla="*/ 474440 h 529418"/>
                  <a:gd name="connsiteX5" fmla="*/ 265931 w 276926"/>
                  <a:gd name="connsiteY5" fmla="*/ 474440 h 529418"/>
                  <a:gd name="connsiteX6" fmla="*/ 225206 w 276926"/>
                  <a:gd name="connsiteY6" fmla="*/ 515164 h 529418"/>
                  <a:gd name="connsiteX7" fmla="*/ 125839 w 276926"/>
                  <a:gd name="connsiteY7" fmla="*/ 515164 h 529418"/>
                  <a:gd name="connsiteX8" fmla="*/ 98960 w 276926"/>
                  <a:gd name="connsiteY8" fmla="*/ 433716 h 529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926" h="529418">
                    <a:moveTo>
                      <a:pt x="18326" y="18326"/>
                    </a:moveTo>
                    <a:lnTo>
                      <a:pt x="18326" y="397878"/>
                    </a:lnTo>
                    <a:cubicBezTo>
                      <a:pt x="18326" y="417426"/>
                      <a:pt x="34616" y="433716"/>
                      <a:pt x="54164" y="433716"/>
                    </a:cubicBezTo>
                    <a:lnTo>
                      <a:pt x="225206" y="433716"/>
                    </a:lnTo>
                    <a:cubicBezTo>
                      <a:pt x="248012" y="433716"/>
                      <a:pt x="265931" y="451634"/>
                      <a:pt x="265931" y="474440"/>
                    </a:cubicBezTo>
                    <a:lnTo>
                      <a:pt x="265931" y="474440"/>
                    </a:lnTo>
                    <a:cubicBezTo>
                      <a:pt x="265931" y="497246"/>
                      <a:pt x="248012" y="515164"/>
                      <a:pt x="225206" y="515164"/>
                    </a:cubicBezTo>
                    <a:lnTo>
                      <a:pt x="125839" y="515164"/>
                    </a:lnTo>
                    <a:lnTo>
                      <a:pt x="98960" y="433716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0" name="Freihandform: Form 285">
                <a:extLst>
                  <a:ext uri="{FF2B5EF4-FFF2-40B4-BE49-F238E27FC236}">
                    <a16:creationId xmlns:a16="http://schemas.microsoft.com/office/drawing/2014/main" id="{AE11E4FE-30ED-42E2-93B5-90281C5AE325}"/>
                  </a:ext>
                </a:extLst>
              </p:cNvPr>
              <p:cNvSpPr/>
              <p:nvPr/>
            </p:nvSpPr>
            <p:spPr bwMode="gray">
              <a:xfrm>
                <a:off x="4379553" y="2334546"/>
                <a:ext cx="420095" cy="88441"/>
              </a:xfrm>
              <a:custGeom>
                <a:avLst/>
                <a:gdLst>
                  <a:gd name="connsiteX0" fmla="*/ 601500 w 619011"/>
                  <a:gd name="connsiteY0" fmla="*/ 18326 h 130318"/>
                  <a:gd name="connsiteX1" fmla="*/ 582767 w 619011"/>
                  <a:gd name="connsiteY1" fmla="*/ 73711 h 130318"/>
                  <a:gd name="connsiteX2" fmla="*/ 525753 w 619011"/>
                  <a:gd name="connsiteY2" fmla="*/ 114436 h 130318"/>
                  <a:gd name="connsiteX3" fmla="*/ 94073 w 619011"/>
                  <a:gd name="connsiteY3" fmla="*/ 114436 h 130318"/>
                  <a:gd name="connsiteX4" fmla="*/ 37059 w 619011"/>
                  <a:gd name="connsiteY4" fmla="*/ 73711 h 130318"/>
                  <a:gd name="connsiteX5" fmla="*/ 18326 w 619011"/>
                  <a:gd name="connsiteY5" fmla="*/ 18326 h 130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9011" h="130318">
                    <a:moveTo>
                      <a:pt x="601500" y="18326"/>
                    </a:moveTo>
                    <a:lnTo>
                      <a:pt x="582767" y="73711"/>
                    </a:lnTo>
                    <a:cubicBezTo>
                      <a:pt x="574622" y="98146"/>
                      <a:pt x="551816" y="114436"/>
                      <a:pt x="525753" y="114436"/>
                    </a:cubicBezTo>
                    <a:lnTo>
                      <a:pt x="94073" y="114436"/>
                    </a:lnTo>
                    <a:cubicBezTo>
                      <a:pt x="68010" y="114436"/>
                      <a:pt x="45204" y="98146"/>
                      <a:pt x="37059" y="73711"/>
                    </a:cubicBezTo>
                    <a:lnTo>
                      <a:pt x="18326" y="18326"/>
                    </a:lnTo>
                  </a:path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1" name="Freihandform: Form 286">
                <a:extLst>
                  <a:ext uri="{FF2B5EF4-FFF2-40B4-BE49-F238E27FC236}">
                    <a16:creationId xmlns:a16="http://schemas.microsoft.com/office/drawing/2014/main" id="{6CF6150D-3450-426B-8255-332B4D2F9E7B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2" name="Freihandform: Form 287">
                <a:extLst>
                  <a:ext uri="{FF2B5EF4-FFF2-40B4-BE49-F238E27FC236}">
                    <a16:creationId xmlns:a16="http://schemas.microsoft.com/office/drawing/2014/main" id="{9DDAED73-C69F-45FF-BE51-42D035D6C8D4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3" name="Freihandform: Form 359">
                <a:extLst>
                  <a:ext uri="{FF2B5EF4-FFF2-40B4-BE49-F238E27FC236}">
                    <a16:creationId xmlns:a16="http://schemas.microsoft.com/office/drawing/2014/main" id="{22A34242-1B23-4EF5-8F24-876ECBDCA73B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4" name="Freihandform: Form 360">
                <a:extLst>
                  <a:ext uri="{FF2B5EF4-FFF2-40B4-BE49-F238E27FC236}">
                    <a16:creationId xmlns:a16="http://schemas.microsoft.com/office/drawing/2014/main" id="{4BAD2BB4-3C63-45E8-9BB9-F32292CD0842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5" name="Freihandform: Form 361">
                <a:extLst>
                  <a:ext uri="{FF2B5EF4-FFF2-40B4-BE49-F238E27FC236}">
                    <a16:creationId xmlns:a16="http://schemas.microsoft.com/office/drawing/2014/main" id="{B6F3D80E-C543-439A-9354-DC52822739E3}"/>
                  </a:ext>
                </a:extLst>
              </p:cNvPr>
              <p:cNvSpPr/>
              <p:nvPr/>
            </p:nvSpPr>
            <p:spPr bwMode="gray">
              <a:xfrm>
                <a:off x="4804784" y="1919033"/>
                <a:ext cx="16583" cy="16583"/>
              </a:xfrm>
              <a:custGeom>
                <a:avLst/>
                <a:gdLst/>
                <a:ahLst/>
                <a:cxnLst/>
                <a:rect l="l" t="t" r="r" b="b"/>
                <a:pathLst>
                  <a:path w="24434" h="24434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6" name="Freihandform: Form 362">
                <a:extLst>
                  <a:ext uri="{FF2B5EF4-FFF2-40B4-BE49-F238E27FC236}">
                    <a16:creationId xmlns:a16="http://schemas.microsoft.com/office/drawing/2014/main" id="{558A0EB0-F1DA-4FDB-8BE3-95A59154A302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7" name="Freihandform: Form 363">
                <a:extLst>
                  <a:ext uri="{FF2B5EF4-FFF2-40B4-BE49-F238E27FC236}">
                    <a16:creationId xmlns:a16="http://schemas.microsoft.com/office/drawing/2014/main" id="{915446B1-25D1-455D-9457-4809B687B10E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8" name="Freihandform: Form 364">
                <a:extLst>
                  <a:ext uri="{FF2B5EF4-FFF2-40B4-BE49-F238E27FC236}">
                    <a16:creationId xmlns:a16="http://schemas.microsoft.com/office/drawing/2014/main" id="{6561DD98-0C7E-4BC7-B7A3-E3986C76B216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59" name="Freihandform: Form 365">
                <a:extLst>
                  <a:ext uri="{FF2B5EF4-FFF2-40B4-BE49-F238E27FC236}">
                    <a16:creationId xmlns:a16="http://schemas.microsoft.com/office/drawing/2014/main" id="{588853E3-8458-4DF9-9D2B-2CB7A8261D0E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0" name="Freihandform: Form 366">
                <a:extLst>
                  <a:ext uri="{FF2B5EF4-FFF2-40B4-BE49-F238E27FC236}">
                    <a16:creationId xmlns:a16="http://schemas.microsoft.com/office/drawing/2014/main" id="{6D3D86B5-9476-48B6-AC77-E75F77B9BFF1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1" name="Freihandform: Form 367">
                <a:extLst>
                  <a:ext uri="{FF2B5EF4-FFF2-40B4-BE49-F238E27FC236}">
                    <a16:creationId xmlns:a16="http://schemas.microsoft.com/office/drawing/2014/main" id="{C1918F83-5B55-4F6D-BB8B-580ADA45FE6A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2" name="Freihandform: Form 368">
                <a:extLst>
                  <a:ext uri="{FF2B5EF4-FFF2-40B4-BE49-F238E27FC236}">
                    <a16:creationId xmlns:a16="http://schemas.microsoft.com/office/drawing/2014/main" id="{FD061223-4051-41ED-AFD9-77AFCB9AC4A0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3" name="Freihandform: Form 369">
                <a:extLst>
                  <a:ext uri="{FF2B5EF4-FFF2-40B4-BE49-F238E27FC236}">
                    <a16:creationId xmlns:a16="http://schemas.microsoft.com/office/drawing/2014/main" id="{5A296D85-0FD6-4F6E-A9AC-FAB1F6C69349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  <p:sp>
            <p:nvSpPr>
              <p:cNvPr id="164" name="Freihandform: Form 370">
                <a:extLst>
                  <a:ext uri="{FF2B5EF4-FFF2-40B4-BE49-F238E27FC236}">
                    <a16:creationId xmlns:a16="http://schemas.microsoft.com/office/drawing/2014/main" id="{49A35141-F3E1-4CCD-8506-B03F103BD39A}"/>
                  </a:ext>
                </a:extLst>
              </p:cNvPr>
              <p:cNvSpPr/>
              <p:nvPr/>
            </p:nvSpPr>
            <p:spPr bwMode="gray">
              <a:xfrm>
                <a:off x="4802965" y="1917214"/>
                <a:ext cx="22111" cy="22111"/>
              </a:xfrm>
              <a:custGeom>
                <a:avLst/>
                <a:gdLst/>
                <a:ahLst/>
                <a:cxnLst/>
                <a:rect l="l" t="t" r="r" b="b"/>
                <a:pathLst>
                  <a:path w="32579" h="32579"/>
                </a:pathLst>
              </a:custGeom>
              <a:noFill/>
              <a:ln w="15875" cap="rnd">
                <a:solidFill>
                  <a:schemeClr val="bg1"/>
                </a:solidFill>
                <a:prstDash val="solid"/>
                <a:round/>
              </a:ln>
              <a:effectLst/>
            </p:spPr>
            <p:txBody>
              <a:bodyPr lIns="0" tIns="0" rIns="0" bIns="0" rtlCol="0" anchor="ctr"/>
              <a:lstStyle/>
              <a:p>
                <a:endParaRPr lang="de-DE"/>
              </a:p>
            </p:txBody>
          </p:sp>
        </p:grpSp>
        <p:cxnSp>
          <p:nvCxnSpPr>
            <p:cNvPr id="139" name="Gerader Verbinder 16">
              <a:extLst>
                <a:ext uri="{FF2B5EF4-FFF2-40B4-BE49-F238E27FC236}">
                  <a16:creationId xmlns:a16="http://schemas.microsoft.com/office/drawing/2014/main" id="{A83D61B7-C544-4F19-AFE1-4145335CEB7D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9806243" y="3488210"/>
              <a:ext cx="1647911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sp>
        <p:nvSpPr>
          <p:cNvPr id="165" name="Textplatzhalter 90">
            <a:extLst>
              <a:ext uri="{FF2B5EF4-FFF2-40B4-BE49-F238E27FC236}">
                <a16:creationId xmlns:a16="http://schemas.microsoft.com/office/drawing/2014/main" id="{A9C30C79-6443-47EE-9EF8-FAF223298E43}"/>
              </a:ext>
            </a:extLst>
          </p:cNvPr>
          <p:cNvSpPr txBox="1">
            <a:spLocks/>
          </p:cNvSpPr>
          <p:nvPr/>
        </p:nvSpPr>
        <p:spPr bwMode="ltGray">
          <a:xfrm>
            <a:off x="541337" y="6205938"/>
            <a:ext cx="11099801" cy="217890"/>
          </a:xfrm>
          <a:prstGeom prst="rect">
            <a:avLst/>
          </a:prstGeom>
        </p:spPr>
        <p:txBody>
          <a:bodyPr vert="horz" lIns="0" tIns="10800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 kern="120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0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4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1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igures from Fiscal Year 2022</a:t>
            </a:r>
          </a:p>
        </p:txBody>
      </p:sp>
    </p:spTree>
    <p:extLst>
      <p:ext uri="{BB962C8B-B14F-4D97-AF65-F5344CB8AC3E}">
        <p14:creationId xmlns:p14="http://schemas.microsoft.com/office/powerpoint/2010/main" val="202815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0.03889 L -2.70833E-6 -2.22222E-6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944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1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A0525D2-228E-4ED8-A061-DF0FF46A89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ltGray"/>
        <p:txBody>
          <a:bodyPr/>
          <a:lstStyle/>
          <a:p>
            <a:r>
              <a:rPr lang="en-US"/>
              <a:t>Thank you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42C5162-5598-45FC-A585-6BB15228F5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ltGray"/>
        <p:txBody>
          <a:bodyPr/>
          <a:lstStyle/>
          <a:p>
            <a:endParaRPr lang="en-US"/>
          </a:p>
        </p:txBody>
      </p:sp>
      <p:cxnSp>
        <p:nvCxnSpPr>
          <p:cNvPr id="4" name="Gerade Verbindung 22">
            <a:extLst>
              <a:ext uri="{FF2B5EF4-FFF2-40B4-BE49-F238E27FC236}">
                <a16:creationId xmlns:a16="http://schemas.microsoft.com/office/drawing/2014/main" id="{D70622AF-EF78-4720-98A1-9B7F2DC494CE}"/>
              </a:ext>
            </a:extLst>
          </p:cNvPr>
          <p:cNvCxnSpPr>
            <a:cxnSpLocks/>
          </p:cNvCxnSpPr>
          <p:nvPr/>
        </p:nvCxnSpPr>
        <p:spPr>
          <a:xfrm flipV="1">
            <a:off x="8427932" y="5704019"/>
            <a:ext cx="0" cy="970549"/>
          </a:xfrm>
          <a:prstGeom prst="line">
            <a:avLst/>
          </a:prstGeom>
          <a:ln w="1270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33D1393F-F5B1-49D5-9B9A-AE544512AB08">
            <a:extLst>
              <a:ext uri="{FF2B5EF4-FFF2-40B4-BE49-F238E27FC236}">
                <a16:creationId xmlns:a16="http://schemas.microsoft.com/office/drawing/2014/main" id="{83143261-0312-4F60-9C36-CA4574FAF8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6194" y="5843499"/>
            <a:ext cx="710443" cy="71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907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CAE515B1-4242-4BC0-8C21-A7A2A7D5CD72}"/>
              </a:ext>
            </a:extLst>
          </p:cNvPr>
          <p:cNvSpPr/>
          <p:nvPr/>
        </p:nvSpPr>
        <p:spPr>
          <a:xfrm>
            <a:off x="0" y="0"/>
            <a:ext cx="40095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>
              <a:solidFill>
                <a:schemeClr val="accent6"/>
              </a:solidFill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F806DE5-D66D-4437-A07D-3F0233CB22C0}"/>
              </a:ext>
            </a:extLst>
          </p:cNvPr>
          <p:cNvSpPr>
            <a:spLocks noGrp="1"/>
          </p:cNvSpPr>
          <p:nvPr>
            <p:ph type="title"/>
          </p:nvPr>
        </p:nvSpPr>
        <p:spPr bwMode="ltGray"/>
        <p:txBody>
          <a:bodyPr/>
          <a:lstStyle/>
          <a:p>
            <a:r>
              <a:rPr lang="en-US">
                <a:solidFill>
                  <a:schemeClr val="accent6"/>
                </a:solidFill>
              </a:rPr>
              <a:t>Our</a:t>
            </a:r>
            <a:br>
              <a:rPr lang="en-US">
                <a:solidFill>
                  <a:schemeClr val="accent6"/>
                </a:solidFill>
              </a:rPr>
            </a:br>
            <a:r>
              <a:rPr lang="en-US">
                <a:solidFill>
                  <a:schemeClr val="bg2">
                    <a:lumMod val="65000"/>
                  </a:schemeClr>
                </a:solidFill>
              </a:rPr>
              <a:t>Ambiti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91B1E98-F23F-49AE-89D9-AB9912CE165E}"/>
              </a:ext>
            </a:extLst>
          </p:cNvPr>
          <p:cNvSpPr txBox="1"/>
          <p:nvPr/>
        </p:nvSpPr>
        <p:spPr bwMode="ltGray">
          <a:xfrm>
            <a:off x="540882" y="2081213"/>
            <a:ext cx="3078000" cy="2859087"/>
          </a:xfrm>
          <a:prstGeom prst="rect">
            <a:avLst/>
          </a:prstGeom>
          <a:noFill/>
        </p:spPr>
        <p:txBody>
          <a:bodyPr wrap="square" lIns="0" tIns="108000" rIns="0" bIns="0" rtlCol="0" anchor="t">
            <a:noAutofit/>
          </a:bodyPr>
          <a:lstStyle/>
          <a:p>
            <a:pPr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en-US" sz="2000" dirty="0">
                <a:solidFill>
                  <a:schemeClr val="accent6"/>
                </a:solidFill>
              </a:rPr>
              <a:t>Novelis’ ambition is to</a:t>
            </a:r>
            <a:br>
              <a:rPr lang="en-US" sz="2000" dirty="0">
                <a:solidFill>
                  <a:schemeClr val="accent6"/>
                </a:solidFill>
              </a:rPr>
            </a:br>
            <a:r>
              <a:rPr lang="en-US" sz="2000" dirty="0">
                <a:solidFill>
                  <a:schemeClr val="accent6"/>
                </a:solidFill>
              </a:rPr>
              <a:t>be the world’s leading provider of low-carbon, sustainable aluminum solutions that advance our business, industry, and society toward the benefits of a circular economy.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7F858D10-FAB4-46D0-9AA2-8D7AE295BB29}"/>
              </a:ext>
            </a:extLst>
          </p:cNvPr>
          <p:cNvCxnSpPr>
            <a:cxnSpLocks/>
          </p:cNvCxnSpPr>
          <p:nvPr/>
        </p:nvCxnSpPr>
        <p:spPr bwMode="ltGray">
          <a:xfrm>
            <a:off x="546192" y="2081213"/>
            <a:ext cx="3078000" cy="0"/>
          </a:xfrm>
          <a:prstGeom prst="line">
            <a:avLst/>
          </a:prstGeom>
          <a:noFill/>
          <a:ln w="6350" cap="flat" cmpd="sng" algn="ctr">
            <a:gradFill>
              <a:gsLst>
                <a:gs pos="0">
                  <a:schemeClr val="tx2">
                    <a:alpha val="0"/>
                  </a:schemeClr>
                </a:gs>
                <a:gs pos="100000">
                  <a:schemeClr val="tx2"/>
                </a:gs>
              </a:gsLst>
              <a:lin ang="10800000" scaled="0"/>
            </a:gradFill>
            <a:prstDash val="solid"/>
            <a:tailEnd type="none"/>
          </a:ln>
          <a:effectLst/>
        </p:spPr>
      </p:cxnSp>
      <p:pic>
        <p:nvPicPr>
          <p:cNvPr id="92" name="Bildplatzhalter 20">
            <a:extLst>
              <a:ext uri="{FF2B5EF4-FFF2-40B4-BE49-F238E27FC236}">
                <a16:creationId xmlns:a16="http://schemas.microsoft.com/office/drawing/2014/main" id="{1DE4ECF5-E8A6-4D74-BAB3-35361B1C6782}"/>
              </a:ext>
            </a:extLst>
          </p:cNvPr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899" t="16448" r="7092" b="15204"/>
          <a:stretch/>
        </p:blipFill>
        <p:spPr bwMode="ltGray">
          <a:xfrm rot="5400000">
            <a:off x="3121327" y="902827"/>
            <a:ext cx="3878290" cy="2078764"/>
          </a:xfrm>
          <a:prstGeom prst="rect">
            <a:avLst/>
          </a:prstGeom>
          <a:noFill/>
          <a:ln w="117475">
            <a:noFill/>
          </a:ln>
        </p:spPr>
      </p:pic>
      <p:pic>
        <p:nvPicPr>
          <p:cNvPr id="105" name="Bildplatzhalter 10">
            <a:extLst>
              <a:ext uri="{FF2B5EF4-FFF2-40B4-BE49-F238E27FC236}">
                <a16:creationId xmlns:a16="http://schemas.microsoft.com/office/drawing/2014/main" id="{9FC92865-B1DB-4446-BEBD-24BDBC370958}"/>
              </a:ext>
            </a:extLst>
          </p:cNvPr>
          <p:cNvPicPr>
            <a:picLocks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016" t="750" r="44621" b="4713"/>
          <a:stretch/>
        </p:blipFill>
        <p:spPr bwMode="ltGray">
          <a:xfrm>
            <a:off x="6024174" y="0"/>
            <a:ext cx="2078764" cy="3881354"/>
          </a:xfrm>
          <a:prstGeom prst="rect">
            <a:avLst/>
          </a:prstGeom>
          <a:ln w="123825">
            <a:noFill/>
          </a:ln>
        </p:spPr>
      </p:pic>
      <p:pic>
        <p:nvPicPr>
          <p:cNvPr id="108" name="Bildplatzhalter 42">
            <a:extLst>
              <a:ext uri="{FF2B5EF4-FFF2-40B4-BE49-F238E27FC236}">
                <a16:creationId xmlns:a16="http://schemas.microsoft.com/office/drawing/2014/main" id="{B5410215-AD2E-455B-9BD4-5044A5378C1A}"/>
              </a:ext>
            </a:extLst>
          </p:cNvPr>
          <p:cNvPicPr>
            <a:picLocks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06" t="970" r="48422" b="-1"/>
          <a:stretch/>
        </p:blipFill>
        <p:spPr bwMode="ltGray">
          <a:xfrm>
            <a:off x="8078874" y="0"/>
            <a:ext cx="2078762" cy="3884624"/>
          </a:xfrm>
          <a:prstGeom prst="rect">
            <a:avLst/>
          </a:prstGeom>
          <a:ln w="123825">
            <a:noFill/>
          </a:ln>
        </p:spPr>
      </p:pic>
      <p:pic>
        <p:nvPicPr>
          <p:cNvPr id="111" name="Bildplatzhalter 6">
            <a:extLst>
              <a:ext uri="{FF2B5EF4-FFF2-40B4-BE49-F238E27FC236}">
                <a16:creationId xmlns:a16="http://schemas.microsoft.com/office/drawing/2014/main" id="{405BEA53-1CFF-45D9-8DE5-568ADC1FE50E}"/>
              </a:ext>
            </a:extLst>
          </p:cNvPr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594" t="3381" r="46152" b="9804"/>
          <a:stretch/>
        </p:blipFill>
        <p:spPr bwMode="ltGray">
          <a:xfrm>
            <a:off x="10121540" y="0"/>
            <a:ext cx="2078764" cy="3882270"/>
          </a:xfrm>
          <a:prstGeom prst="rect">
            <a:avLst/>
          </a:prstGeom>
        </p:spPr>
      </p:pic>
      <p:sp>
        <p:nvSpPr>
          <p:cNvPr id="117" name="Textplatzhalter 90">
            <a:extLst>
              <a:ext uri="{FF2B5EF4-FFF2-40B4-BE49-F238E27FC236}">
                <a16:creationId xmlns:a16="http://schemas.microsoft.com/office/drawing/2014/main" id="{7AD85DB6-B9E6-493E-B3E4-420F059CE773}"/>
              </a:ext>
            </a:extLst>
          </p:cNvPr>
          <p:cNvSpPr txBox="1">
            <a:spLocks/>
          </p:cNvSpPr>
          <p:nvPr/>
        </p:nvSpPr>
        <p:spPr bwMode="ltGray">
          <a:xfrm>
            <a:off x="541337" y="6205938"/>
            <a:ext cx="11099801" cy="217890"/>
          </a:xfrm>
          <a:prstGeom prst="rect">
            <a:avLst/>
          </a:prstGeom>
        </p:spPr>
        <p:txBody>
          <a:bodyPr vert="horz" lIns="0" tIns="10800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 kern="120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0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4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1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ovelis market supply in Fiscal Year 2022</a:t>
            </a:r>
          </a:p>
        </p:txBody>
      </p:sp>
      <p:grpSp>
        <p:nvGrpSpPr>
          <p:cNvPr id="18" name="Gruppieren 14">
            <a:extLst>
              <a:ext uri="{FF2B5EF4-FFF2-40B4-BE49-F238E27FC236}">
                <a16:creationId xmlns:a16="http://schemas.microsoft.com/office/drawing/2014/main" id="{E4E1E01B-868C-483D-AC33-E19B6334031B}"/>
              </a:ext>
            </a:extLst>
          </p:cNvPr>
          <p:cNvGrpSpPr/>
          <p:nvPr/>
        </p:nvGrpSpPr>
        <p:grpSpPr bwMode="ltGray">
          <a:xfrm>
            <a:off x="10248192" y="4100984"/>
            <a:ext cx="2268000" cy="1426283"/>
            <a:chOff x="693282" y="2231317"/>
            <a:chExt cx="2160000" cy="1426283"/>
          </a:xfrm>
        </p:grpSpPr>
        <p:sp>
          <p:nvSpPr>
            <p:cNvPr id="19" name="Inhaltsplatzhalter 48">
              <a:extLst>
                <a:ext uri="{FF2B5EF4-FFF2-40B4-BE49-F238E27FC236}">
                  <a16:creationId xmlns:a16="http://schemas.microsoft.com/office/drawing/2014/main" id="{E4EF9113-0287-4EB9-946B-C2FAA3D30A05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160000" cy="1426283"/>
            </a:xfrm>
            <a:prstGeom prst="rect">
              <a:avLst/>
            </a:prstGeom>
          </p:spPr>
          <p:txBody>
            <a:bodyPr vert="horz" lIns="0" tIns="108000" rIns="0" bIns="0" rtlCol="0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b="1">
                  <a:solidFill>
                    <a:schemeClr val="bg1"/>
                  </a:solidFill>
                </a:rPr>
                <a:t>Aerospace &amp; Industrial Plate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400" b="1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400" b="1">
                  <a:solidFill>
                    <a:schemeClr val="bg1"/>
                  </a:solidFill>
                </a:rPr>
                <a:t>3%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cxnSp>
          <p:nvCxnSpPr>
            <p:cNvPr id="20" name="Gerader Verbinder 16">
              <a:extLst>
                <a:ext uri="{FF2B5EF4-FFF2-40B4-BE49-F238E27FC236}">
                  <a16:creationId xmlns:a16="http://schemas.microsoft.com/office/drawing/2014/main" id="{86657844-6950-47E9-9346-8F674E6D6D2F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25" name="Gruppieren 14">
            <a:extLst>
              <a:ext uri="{FF2B5EF4-FFF2-40B4-BE49-F238E27FC236}">
                <a16:creationId xmlns:a16="http://schemas.microsoft.com/office/drawing/2014/main" id="{E71D873B-2345-40E6-919B-E7A8C5F4C1D7}"/>
              </a:ext>
            </a:extLst>
          </p:cNvPr>
          <p:cNvGrpSpPr/>
          <p:nvPr/>
        </p:nvGrpSpPr>
        <p:grpSpPr bwMode="ltGray">
          <a:xfrm>
            <a:off x="8180474" y="4100984"/>
            <a:ext cx="2268000" cy="1426283"/>
            <a:chOff x="693282" y="2231317"/>
            <a:chExt cx="2160000" cy="1426283"/>
          </a:xfrm>
        </p:grpSpPr>
        <p:sp>
          <p:nvSpPr>
            <p:cNvPr id="26" name="Inhaltsplatzhalter 48">
              <a:extLst>
                <a:ext uri="{FF2B5EF4-FFF2-40B4-BE49-F238E27FC236}">
                  <a16:creationId xmlns:a16="http://schemas.microsoft.com/office/drawing/2014/main" id="{C2A7B580-A124-4714-9A08-3F4394B1F83A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160000" cy="1426283"/>
            </a:xfrm>
            <a:prstGeom prst="rect">
              <a:avLst/>
            </a:prstGeom>
          </p:spPr>
          <p:txBody>
            <a:bodyPr vert="horz" lIns="0" tIns="108000" rIns="0" bIns="0" rtlCol="0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b="1">
                  <a:solidFill>
                    <a:schemeClr val="bg1"/>
                  </a:solidFill>
                </a:rPr>
                <a:t>Automotive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b="1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1400" b="1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400" b="1">
                  <a:solidFill>
                    <a:schemeClr val="bg1"/>
                  </a:solidFill>
                </a:rPr>
                <a:t>19%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cxnSp>
          <p:nvCxnSpPr>
            <p:cNvPr id="27" name="Gerader Verbinder 16">
              <a:extLst>
                <a:ext uri="{FF2B5EF4-FFF2-40B4-BE49-F238E27FC236}">
                  <a16:creationId xmlns:a16="http://schemas.microsoft.com/office/drawing/2014/main" id="{D98BE615-51DF-42EC-A31B-D68D3DEFC2C5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28" name="Gruppieren 14">
            <a:extLst>
              <a:ext uri="{FF2B5EF4-FFF2-40B4-BE49-F238E27FC236}">
                <a16:creationId xmlns:a16="http://schemas.microsoft.com/office/drawing/2014/main" id="{A7EBC51A-E733-4D5C-9C3A-AEBDDB7331D3}"/>
              </a:ext>
            </a:extLst>
          </p:cNvPr>
          <p:cNvGrpSpPr/>
          <p:nvPr/>
        </p:nvGrpSpPr>
        <p:grpSpPr bwMode="ltGray">
          <a:xfrm>
            <a:off x="6150036" y="4100983"/>
            <a:ext cx="2268000" cy="1426283"/>
            <a:chOff x="693282" y="2231317"/>
            <a:chExt cx="2160000" cy="1426283"/>
          </a:xfrm>
        </p:grpSpPr>
        <p:sp>
          <p:nvSpPr>
            <p:cNvPr id="29" name="Inhaltsplatzhalter 48">
              <a:extLst>
                <a:ext uri="{FF2B5EF4-FFF2-40B4-BE49-F238E27FC236}">
                  <a16:creationId xmlns:a16="http://schemas.microsoft.com/office/drawing/2014/main" id="{E149A9C2-A563-4F94-9A15-7793B09B1EDD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160000" cy="1426283"/>
            </a:xfrm>
            <a:prstGeom prst="rect">
              <a:avLst/>
            </a:prstGeom>
          </p:spPr>
          <p:txBody>
            <a:bodyPr vert="horz" lIns="0" tIns="108000" rIns="0" bIns="0" rtlCol="0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b="1">
                  <a:solidFill>
                    <a:schemeClr val="bg1"/>
                  </a:solidFill>
                </a:rPr>
                <a:t>Specialties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b="1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1400" b="1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400" b="1">
                  <a:solidFill>
                    <a:schemeClr val="bg1"/>
                  </a:solidFill>
                </a:rPr>
                <a:t>27%</a:t>
              </a:r>
              <a:endParaRPr lang="en-US" sz="1200" b="1">
                <a:solidFill>
                  <a:schemeClr val="bg1"/>
                </a:solidFill>
              </a:endParaRPr>
            </a:p>
          </p:txBody>
        </p:sp>
        <p:cxnSp>
          <p:nvCxnSpPr>
            <p:cNvPr id="30" name="Gerader Verbinder 16">
              <a:extLst>
                <a:ext uri="{FF2B5EF4-FFF2-40B4-BE49-F238E27FC236}">
                  <a16:creationId xmlns:a16="http://schemas.microsoft.com/office/drawing/2014/main" id="{9C211F11-09BB-4067-95D2-0834924544E4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sp>
        <p:nvSpPr>
          <p:cNvPr id="31" name="Textplatzhalter 29">
            <a:extLst>
              <a:ext uri="{FF2B5EF4-FFF2-40B4-BE49-F238E27FC236}">
                <a16:creationId xmlns:a16="http://schemas.microsoft.com/office/drawing/2014/main" id="{64B14F4E-09D8-497C-8A8B-44FF82F9E3C6}"/>
              </a:ext>
            </a:extLst>
          </p:cNvPr>
          <p:cNvSpPr txBox="1">
            <a:spLocks/>
          </p:cNvSpPr>
          <p:nvPr/>
        </p:nvSpPr>
        <p:spPr bwMode="ltGray">
          <a:xfrm>
            <a:off x="4210879" y="5524151"/>
            <a:ext cx="2700000" cy="468398"/>
          </a:xfrm>
          <a:prstGeom prst="rect">
            <a:avLst/>
          </a:prstGeom>
          <a:ln>
            <a:noFill/>
          </a:ln>
        </p:spPr>
        <p:txBody>
          <a:bodyPr lIns="0" tIns="0" rIns="0" bIns="0">
            <a:noAutofit/>
          </a:bodyPr>
          <a:lstStyle>
            <a:lvl1pPr marL="270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57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84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111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2400" b="1" spc="100">
              <a:solidFill>
                <a:schemeClr val="bg1"/>
              </a:solidFill>
            </a:endParaRPr>
          </a:p>
        </p:txBody>
      </p:sp>
      <p:grpSp>
        <p:nvGrpSpPr>
          <p:cNvPr id="32" name="Gruppieren 14">
            <a:extLst>
              <a:ext uri="{FF2B5EF4-FFF2-40B4-BE49-F238E27FC236}">
                <a16:creationId xmlns:a16="http://schemas.microsoft.com/office/drawing/2014/main" id="{5FAA8BB1-B72E-4FB4-9363-5C1B1EAD1E79}"/>
              </a:ext>
            </a:extLst>
          </p:cNvPr>
          <p:cNvGrpSpPr/>
          <p:nvPr/>
        </p:nvGrpSpPr>
        <p:grpSpPr bwMode="ltGray">
          <a:xfrm>
            <a:off x="4203838" y="4109411"/>
            <a:ext cx="2268000" cy="1426283"/>
            <a:chOff x="693282" y="2231317"/>
            <a:chExt cx="2160000" cy="1426283"/>
          </a:xfrm>
        </p:grpSpPr>
        <p:sp>
          <p:nvSpPr>
            <p:cNvPr id="34" name="Inhaltsplatzhalter 48">
              <a:extLst>
                <a:ext uri="{FF2B5EF4-FFF2-40B4-BE49-F238E27FC236}">
                  <a16:creationId xmlns:a16="http://schemas.microsoft.com/office/drawing/2014/main" id="{5776DF5D-D857-4EFB-A1A3-5958162FE38B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160000" cy="1426283"/>
            </a:xfrm>
            <a:prstGeom prst="rect">
              <a:avLst/>
            </a:prstGeom>
          </p:spPr>
          <p:txBody>
            <a:bodyPr vert="horz" lIns="0" tIns="108000" rIns="0" bIns="0" rtlCol="0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2000" b="1">
                  <a:solidFill>
                    <a:schemeClr val="bg1"/>
                  </a:solidFill>
                </a:rPr>
                <a:t>Can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2000" b="1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endParaRPr lang="en-US" sz="1400" b="1">
                <a:solidFill>
                  <a:schemeClr val="bg1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2400" b="1">
                  <a:solidFill>
                    <a:schemeClr val="bg1"/>
                  </a:solidFill>
                </a:rPr>
                <a:t>51%</a:t>
              </a:r>
            </a:p>
          </p:txBody>
        </p:sp>
        <p:cxnSp>
          <p:nvCxnSpPr>
            <p:cNvPr id="35" name="Gerader Verbinder 16">
              <a:extLst>
                <a:ext uri="{FF2B5EF4-FFF2-40B4-BE49-F238E27FC236}">
                  <a16:creationId xmlns:a16="http://schemas.microsoft.com/office/drawing/2014/main" id="{D35EF6AE-AD53-4EA3-977A-BEAE0C93EC79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09E90A8D-0C76-436F-85E8-0040FDAAD843}"/>
              </a:ext>
            </a:extLst>
          </p:cNvPr>
          <p:cNvSpPr txBox="1"/>
          <p:nvPr/>
        </p:nvSpPr>
        <p:spPr>
          <a:xfrm>
            <a:off x="1013982" y="6467460"/>
            <a:ext cx="1575303" cy="217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de-DE" sz="1000" dirty="0">
                <a:solidFill>
                  <a:schemeClr val="accent6"/>
                </a:solidFill>
              </a:rPr>
              <a:t>2</a:t>
            </a:r>
            <a:endParaRPr lang="en-US" sz="1000" dirty="0" err="1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70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3721FC5-5F21-4198-863F-5B7AC76080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ltGray"/>
        <p:txBody>
          <a:bodyPr/>
          <a:lstStyle/>
          <a:p>
            <a:r>
              <a:rPr lang="en-US"/>
              <a:t> 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4594CDDD-683F-49E4-9547-97CDA8CFCDB1}"/>
              </a:ext>
            </a:extLst>
          </p:cNvPr>
          <p:cNvGrpSpPr/>
          <p:nvPr/>
        </p:nvGrpSpPr>
        <p:grpSpPr bwMode="ltGray">
          <a:xfrm>
            <a:off x="553744" y="2655125"/>
            <a:ext cx="2268000" cy="1426283"/>
            <a:chOff x="693282" y="2231317"/>
            <a:chExt cx="2160000" cy="1426283"/>
          </a:xfrm>
        </p:grpSpPr>
        <p:sp>
          <p:nvSpPr>
            <p:cNvPr id="16" name="Inhaltsplatzhalter 48">
              <a:extLst>
                <a:ext uri="{FF2B5EF4-FFF2-40B4-BE49-F238E27FC236}">
                  <a16:creationId xmlns:a16="http://schemas.microsoft.com/office/drawing/2014/main" id="{B33AD67E-D2AB-4383-968B-633EEF7C5035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160000" cy="1426283"/>
            </a:xfrm>
            <a:prstGeom prst="rect">
              <a:avLst/>
            </a:prstGeom>
          </p:spPr>
          <p:txBody>
            <a:bodyPr vert="horz" lIns="0" tIns="108000" rIns="0" bIns="0" rtlCol="0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4000" b="1">
                  <a:solidFill>
                    <a:schemeClr val="bg1"/>
                  </a:solidFill>
                </a:rPr>
                <a:t>57 %</a:t>
              </a:r>
              <a:br>
                <a:rPr lang="en-US" sz="4000" b="1">
                  <a:solidFill>
                    <a:schemeClr val="bg1"/>
                  </a:solidFill>
                </a:rPr>
              </a:br>
              <a:r>
                <a:rPr lang="en-US" sz="1600">
                  <a:solidFill>
                    <a:schemeClr val="bg1"/>
                  </a:solidFill>
                </a:rPr>
                <a:t>recycled content</a:t>
              </a:r>
              <a:br>
                <a:rPr lang="en-US" sz="1600">
                  <a:solidFill>
                    <a:schemeClr val="bg1"/>
                  </a:solidFill>
                </a:rPr>
              </a:br>
              <a:r>
                <a:rPr lang="en-US" sz="1600">
                  <a:solidFill>
                    <a:schemeClr val="bg1"/>
                  </a:solidFill>
                </a:rPr>
                <a:t>across product range</a:t>
              </a:r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A96C5881-A564-4DC3-B7D9-2885C3C2C5D4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4BC0A9AE-9160-4A0B-B086-D825BEBB50E2}"/>
              </a:ext>
            </a:extLst>
          </p:cNvPr>
          <p:cNvGrpSpPr/>
          <p:nvPr/>
        </p:nvGrpSpPr>
        <p:grpSpPr bwMode="ltGray">
          <a:xfrm>
            <a:off x="3127274" y="2655125"/>
            <a:ext cx="2268000" cy="1426283"/>
            <a:chOff x="693282" y="2231317"/>
            <a:chExt cx="2160000" cy="1426283"/>
          </a:xfrm>
        </p:grpSpPr>
        <p:sp>
          <p:nvSpPr>
            <p:cNvPr id="22" name="Inhaltsplatzhalter 48">
              <a:extLst>
                <a:ext uri="{FF2B5EF4-FFF2-40B4-BE49-F238E27FC236}">
                  <a16:creationId xmlns:a16="http://schemas.microsoft.com/office/drawing/2014/main" id="{A601760E-9D88-49DA-811A-AA66020EB296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160000" cy="1426283"/>
            </a:xfrm>
            <a:prstGeom prst="rect">
              <a:avLst/>
            </a:prstGeom>
          </p:spPr>
          <p:txBody>
            <a:bodyPr vert="horz" lIns="0" tIns="10800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4000" b="1">
                  <a:solidFill>
                    <a:schemeClr val="bg1"/>
                  </a:solidFill>
                </a:rPr>
                <a:t>&gt;80</a:t>
              </a:r>
              <a:r>
                <a:rPr lang="en-US" sz="4000" b="1">
                  <a:solidFill>
                    <a:schemeClr val="bg2"/>
                  </a:solidFill>
                </a:rPr>
                <a:t>B</a:t>
              </a:r>
              <a:br>
                <a:rPr lang="en-US" sz="4000" b="1">
                  <a:solidFill>
                    <a:schemeClr val="bg1"/>
                  </a:solidFill>
                </a:rPr>
              </a:br>
              <a:r>
                <a:rPr lang="en-US" sz="1600">
                  <a:solidFill>
                    <a:schemeClr val="bg1"/>
                  </a:solidFill>
                </a:rPr>
                <a:t>used beverage cans</a:t>
              </a:r>
              <a:br>
                <a:rPr lang="en-US" sz="1600">
                  <a:solidFill>
                    <a:schemeClr val="bg1"/>
                  </a:solidFill>
                </a:rPr>
              </a:br>
              <a:r>
                <a:rPr lang="en-US" sz="1600">
                  <a:solidFill>
                    <a:schemeClr val="bg1"/>
                  </a:solidFill>
                </a:rPr>
                <a:t>recycled annually</a:t>
              </a:r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0077B699-1234-4D58-A54C-35CD80FD45CB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338F905F-BD93-4A1A-88FA-C265B098EEFC}"/>
              </a:ext>
            </a:extLst>
          </p:cNvPr>
          <p:cNvGrpSpPr/>
          <p:nvPr/>
        </p:nvGrpSpPr>
        <p:grpSpPr bwMode="ltGray">
          <a:xfrm>
            <a:off x="5621044" y="2655125"/>
            <a:ext cx="2407290" cy="1917895"/>
            <a:chOff x="693282" y="2231317"/>
            <a:chExt cx="2292657" cy="1917895"/>
          </a:xfrm>
        </p:grpSpPr>
        <p:sp>
          <p:nvSpPr>
            <p:cNvPr id="25" name="Inhaltsplatzhalter 48">
              <a:extLst>
                <a:ext uri="{FF2B5EF4-FFF2-40B4-BE49-F238E27FC236}">
                  <a16:creationId xmlns:a16="http://schemas.microsoft.com/office/drawing/2014/main" id="{77E6ADBB-CE55-4E5D-A53C-031C8FE1041D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292657" cy="1917895"/>
            </a:xfrm>
            <a:prstGeom prst="rect">
              <a:avLst/>
            </a:prstGeom>
          </p:spPr>
          <p:txBody>
            <a:bodyPr vert="horz" lIns="0" tIns="10800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4000" b="1">
                  <a:solidFill>
                    <a:schemeClr val="bg2"/>
                  </a:solidFill>
                </a:rPr>
                <a:t>&gt;$1.1B</a:t>
              </a:r>
              <a:br>
                <a:rPr lang="en-US" sz="4000" b="1">
                  <a:solidFill>
                    <a:srgbClr val="FF0000"/>
                  </a:solidFill>
                </a:rPr>
              </a:br>
              <a:r>
                <a:rPr lang="en-US" sz="1600">
                  <a:solidFill>
                    <a:schemeClr val="bg1"/>
                  </a:solidFill>
                </a:rPr>
                <a:t>invested in recycling capacities &amp; capabilities </a:t>
              </a:r>
              <a:r>
                <a:rPr lang="en-US" sz="1600">
                  <a:solidFill>
                    <a:schemeClr val="bg2"/>
                  </a:solidFill>
                </a:rPr>
                <a:t>since 2011 </a:t>
              </a:r>
              <a:endParaRPr lang="en-US">
                <a:solidFill>
                  <a:schemeClr val="bg2"/>
                </a:solidFill>
              </a:endParaRPr>
            </a:p>
          </p:txBody>
        </p: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02761891-41FF-4952-B4BC-D0CE5BCD8596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BE891584-E4B7-4BA5-A43D-B3BC8F1F6B12}"/>
              </a:ext>
            </a:extLst>
          </p:cNvPr>
          <p:cNvSpPr txBox="1">
            <a:spLocks/>
          </p:cNvSpPr>
          <p:nvPr/>
        </p:nvSpPr>
        <p:spPr bwMode="ltGray">
          <a:xfrm>
            <a:off x="693282" y="1095375"/>
            <a:ext cx="11109709" cy="466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3600" b="1" kern="1200" spc="150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7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4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11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bg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Leadership</a:t>
            </a:r>
            <a:endParaRPr lang="en-US"/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97CAC073-782A-4EC2-ABA4-3A1569EFF310}"/>
              </a:ext>
            </a:extLst>
          </p:cNvPr>
          <p:cNvSpPr txBox="1">
            <a:spLocks/>
          </p:cNvSpPr>
          <p:nvPr/>
        </p:nvSpPr>
        <p:spPr bwMode="ltGray">
          <a:xfrm>
            <a:off x="693283" y="594025"/>
            <a:ext cx="11110235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 spc="1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>
                <a:cs typeface="Arial"/>
              </a:rPr>
              <a:t>Our Recycling</a:t>
            </a:r>
            <a:endParaRPr lang="en-US"/>
          </a:p>
        </p:txBody>
      </p:sp>
      <p:sp>
        <p:nvSpPr>
          <p:cNvPr id="39" name="Textplatzhalter 90">
            <a:extLst>
              <a:ext uri="{FF2B5EF4-FFF2-40B4-BE49-F238E27FC236}">
                <a16:creationId xmlns:a16="http://schemas.microsoft.com/office/drawing/2014/main" id="{E206DF78-87FD-4FA8-B4F6-683E5F3EE545}"/>
              </a:ext>
            </a:extLst>
          </p:cNvPr>
          <p:cNvSpPr txBox="1">
            <a:spLocks/>
          </p:cNvSpPr>
          <p:nvPr/>
        </p:nvSpPr>
        <p:spPr bwMode="ltGray">
          <a:xfrm>
            <a:off x="541337" y="6205938"/>
            <a:ext cx="11099801" cy="217890"/>
          </a:xfrm>
          <a:prstGeom prst="rect">
            <a:avLst/>
          </a:prstGeom>
        </p:spPr>
        <p:txBody>
          <a:bodyPr vert="horz" lIns="0" tIns="10800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00" kern="120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0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4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11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Arial" panose="020B0604020202020204" pitchFamily="34" charset="0"/>
              <a:buNone/>
              <a:defRPr sz="1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1386000" indent="-27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 cap="all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igures from Fiscal Year 2022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9C0DE1AC-D21C-4391-A68D-61CB233698B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598" r="15467"/>
          <a:stretch/>
        </p:blipFill>
        <p:spPr>
          <a:xfrm>
            <a:off x="7678034" y="0"/>
            <a:ext cx="4513966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F9068E1-0648-4109-9BE3-6026C1B36F7E}"/>
              </a:ext>
            </a:extLst>
          </p:cNvPr>
          <p:cNvSpPr txBox="1"/>
          <p:nvPr/>
        </p:nvSpPr>
        <p:spPr>
          <a:xfrm>
            <a:off x="1013982" y="6467460"/>
            <a:ext cx="1575303" cy="217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de-DE" sz="1000" dirty="0">
                <a:solidFill>
                  <a:schemeClr val="bg1"/>
                </a:solidFill>
              </a:rPr>
              <a:t>3</a:t>
            </a:r>
            <a:endParaRPr lang="en-US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04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8B825-9112-450F-AFB5-E213BC488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cs typeface="Arial"/>
              </a:rPr>
              <a:t>Aluminium </a:t>
            </a:r>
            <a:r>
              <a:rPr lang="en-US">
                <a:cs typeface="Arial"/>
              </a:rPr>
              <a:t>Stewardship Initiative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C7D94C-9E2B-4A08-A469-AEB7700116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Certifications</a:t>
            </a:r>
            <a:endParaRPr lang="en-US"/>
          </a:p>
        </p:txBody>
      </p:sp>
      <p:pic>
        <p:nvPicPr>
          <p:cNvPr id="1026" name="42609BDF-CC9A-43B7-8BE1-A0CBCF87106A">
            <a:extLst>
              <a:ext uri="{FF2B5EF4-FFF2-40B4-BE49-F238E27FC236}">
                <a16:creationId xmlns:a16="http://schemas.microsoft.com/office/drawing/2014/main" id="{4E7D6900-D4B7-45EE-8EAC-47763CB47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8616" y="1448717"/>
            <a:ext cx="8866105" cy="4870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ECE81115-8EBD-94EA-EB57-18860F34E6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5903" y="1448555"/>
            <a:ext cx="1693127" cy="984243"/>
          </a:xfrm>
          <a:prstGeom prst="rect">
            <a:avLst/>
          </a:prstGeom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A9C3B77C-8331-2D46-773A-2422A41DAD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57758" y="2595210"/>
            <a:ext cx="1708031" cy="993712"/>
          </a:xfrm>
          <a:prstGeom prst="rect">
            <a:avLst/>
          </a:prstGeom>
        </p:spPr>
      </p:pic>
      <p:grpSp>
        <p:nvGrpSpPr>
          <p:cNvPr id="12" name="Gruppieren 14">
            <a:extLst>
              <a:ext uri="{FF2B5EF4-FFF2-40B4-BE49-F238E27FC236}">
                <a16:creationId xmlns:a16="http://schemas.microsoft.com/office/drawing/2014/main" id="{67DD34B5-B8AB-F4BE-F340-012290C21AAC}"/>
              </a:ext>
            </a:extLst>
          </p:cNvPr>
          <p:cNvGrpSpPr/>
          <p:nvPr/>
        </p:nvGrpSpPr>
        <p:grpSpPr bwMode="ltGray">
          <a:xfrm>
            <a:off x="9967966" y="3787514"/>
            <a:ext cx="1707283" cy="1970870"/>
            <a:chOff x="693282" y="2231317"/>
            <a:chExt cx="2160000" cy="2437763"/>
          </a:xfrm>
        </p:grpSpPr>
        <p:sp>
          <p:nvSpPr>
            <p:cNvPr id="10" name="Inhaltsplatzhalter 48">
              <a:extLst>
                <a:ext uri="{FF2B5EF4-FFF2-40B4-BE49-F238E27FC236}">
                  <a16:creationId xmlns:a16="http://schemas.microsoft.com/office/drawing/2014/main" id="{2C3911C3-892F-2AE0-996F-E66A5A488BCE}"/>
                </a:ext>
              </a:extLst>
            </p:cNvPr>
            <p:cNvSpPr txBox="1">
              <a:spLocks/>
            </p:cNvSpPr>
            <p:nvPr/>
          </p:nvSpPr>
          <p:spPr bwMode="ltGray">
            <a:xfrm>
              <a:off x="693282" y="2231317"/>
              <a:ext cx="2148244" cy="2437763"/>
            </a:xfrm>
            <a:prstGeom prst="rect">
              <a:avLst/>
            </a:prstGeom>
          </p:spPr>
          <p:txBody>
            <a:bodyPr vert="horz" lIns="0" tIns="10800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  <a:lvl2pPr marL="57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2pPr>
              <a:lvl3pPr marL="84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3pPr>
              <a:lvl4pPr marL="111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4pPr>
              <a:lvl5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6"/>
                </a:buClr>
                <a:buFont typeface="Arial" panose="020B0604020202020204" pitchFamily="34" charset="0"/>
                <a:buChar char="–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6pPr>
              <a:lvl7pPr marL="1386000" indent="-27000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accent5"/>
                </a:buClr>
                <a:buFont typeface="Symbol" panose="05050102010706020507" pitchFamily="18" charset="2"/>
                <a:buChar char="-"/>
                <a:defRPr sz="160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20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None/>
                <a:defRPr sz="1800" kern="1200" cap="all" baseline="0">
                  <a:solidFill>
                    <a:schemeClr val="bg2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050">
                  <a:solidFill>
                    <a:schemeClr val="bg1"/>
                  </a:solidFill>
                  <a:cs typeface="Arial"/>
                </a:rPr>
                <a:t>ASI Performance Standard:  </a:t>
              </a:r>
              <a:br>
                <a:rPr lang="en-US" sz="1050">
                  <a:cs typeface="Arial"/>
                </a:rPr>
              </a:br>
              <a:r>
                <a:rPr lang="en-US" sz="1000">
                  <a:solidFill>
                    <a:schemeClr val="bg1"/>
                  </a:solidFill>
                  <a:cs typeface="Arial"/>
                </a:rPr>
                <a:t>Korea, Europe, North America, South America </a:t>
              </a:r>
              <a:br>
                <a:rPr lang="en-US" sz="1050">
                  <a:cs typeface="Arial"/>
                </a:rPr>
              </a:br>
              <a:endParaRPr lang="en-US" sz="800">
                <a:solidFill>
                  <a:schemeClr val="bg1"/>
                </a:solidFill>
                <a:cs typeface="Arial"/>
              </a:endParaRPr>
            </a:p>
            <a:p>
              <a:pPr marL="0" indent="0">
                <a:buNone/>
              </a:pPr>
              <a:r>
                <a:rPr lang="en-US" sz="1050">
                  <a:solidFill>
                    <a:schemeClr val="bg1"/>
                  </a:solidFill>
                  <a:cs typeface="Arial"/>
                </a:rPr>
                <a:t>ASI Chain of Custody: </a:t>
              </a:r>
              <a:r>
                <a:rPr lang="en-US" sz="1000">
                  <a:solidFill>
                    <a:schemeClr val="bg1"/>
                  </a:solidFill>
                  <a:cs typeface="Arial"/>
                </a:rPr>
                <a:t>Europe, Korea </a:t>
              </a:r>
              <a:br>
                <a:rPr lang="en-US" sz="1050">
                  <a:cs typeface="Arial"/>
                </a:rPr>
              </a:br>
              <a:endParaRPr lang="en-US" sz="800">
                <a:solidFill>
                  <a:schemeClr val="bg1"/>
                </a:solidFill>
                <a:cs typeface="Arial"/>
              </a:endParaRPr>
            </a:p>
          </p:txBody>
        </p:sp>
        <p:cxnSp>
          <p:nvCxnSpPr>
            <p:cNvPr id="11" name="Gerader Verbinder 16">
              <a:extLst>
                <a:ext uri="{FF2B5EF4-FFF2-40B4-BE49-F238E27FC236}">
                  <a16:creationId xmlns:a16="http://schemas.microsoft.com/office/drawing/2014/main" id="{C61D84DD-1789-1E8A-9F93-514DB8F3E4C4}"/>
                </a:ext>
              </a:extLst>
            </p:cNvPr>
            <p:cNvCxnSpPr>
              <a:cxnSpLocks/>
            </p:cNvCxnSpPr>
            <p:nvPr/>
          </p:nvCxnSpPr>
          <p:spPr bwMode="ltGray">
            <a:xfrm>
              <a:off x="693282" y="2231317"/>
              <a:ext cx="2160000" cy="0"/>
            </a:xfrm>
            <a:prstGeom prst="line">
              <a:avLst/>
            </a:prstGeom>
            <a:noFill/>
            <a:ln w="6350" cap="flat" cmpd="sng" algn="ctr"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/>
                  </a:gs>
                </a:gsLst>
                <a:lin ang="10800000" scaled="0"/>
              </a:gradFill>
              <a:prstDash val="solid"/>
              <a:tailEnd type="none"/>
            </a:ln>
            <a:effectLst/>
          </p:spPr>
        </p:cxnSp>
      </p:grpSp>
      <p:cxnSp>
        <p:nvCxnSpPr>
          <p:cNvPr id="19" name="Gerader Verbinder 16">
            <a:extLst>
              <a:ext uri="{FF2B5EF4-FFF2-40B4-BE49-F238E27FC236}">
                <a16:creationId xmlns:a16="http://schemas.microsoft.com/office/drawing/2014/main" id="{13EF110F-4D1A-E316-AF9E-3849D2F4F6E4}"/>
              </a:ext>
            </a:extLst>
          </p:cNvPr>
          <p:cNvCxnSpPr>
            <a:cxnSpLocks/>
          </p:cNvCxnSpPr>
          <p:nvPr/>
        </p:nvCxnSpPr>
        <p:spPr bwMode="ltGray">
          <a:xfrm>
            <a:off x="9971683" y="5199258"/>
            <a:ext cx="1707283" cy="0"/>
          </a:xfrm>
          <a:prstGeom prst="line">
            <a:avLst/>
          </a:prstGeom>
          <a:noFill/>
          <a:ln w="6350" cap="flat" cmpd="sng" algn="ctr">
            <a:gradFill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0"/>
            </a:gradFill>
            <a:prstDash val="solid"/>
            <a:tailEnd type="none"/>
          </a:ln>
          <a:effectLst/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3E60944-0CDA-4D31-A3BD-BA808C51D5B6}"/>
              </a:ext>
            </a:extLst>
          </p:cNvPr>
          <p:cNvSpPr txBox="1"/>
          <p:nvPr/>
        </p:nvSpPr>
        <p:spPr>
          <a:xfrm>
            <a:off x="1013982" y="6467460"/>
            <a:ext cx="1575303" cy="217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1000"/>
              </a:spcAft>
              <a:buClr>
                <a:schemeClr val="accent1"/>
              </a:buClr>
            </a:pPr>
            <a:r>
              <a:rPr lang="de-DE" sz="1000" dirty="0">
                <a:solidFill>
                  <a:schemeClr val="bg1"/>
                </a:solidFill>
              </a:rPr>
              <a:t>4</a:t>
            </a:r>
            <a:endParaRPr lang="en-US" sz="1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08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Marcador de posición de imagen 14">
            <a:extLst>
              <a:ext uri="{FF2B5EF4-FFF2-40B4-BE49-F238E27FC236}">
                <a16:creationId xmlns:a16="http://schemas.microsoft.com/office/drawing/2014/main" id="{7811BC14-C0B0-E749-90A5-56733DC5742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07" r="24607"/>
          <a:stretch>
            <a:fillRect/>
          </a:stretch>
        </p:blipFill>
        <p:spPr/>
      </p:pic>
      <p:pic>
        <p:nvPicPr>
          <p:cNvPr id="11" name="Marcador de posición de imagen 10">
            <a:extLst>
              <a:ext uri="{FF2B5EF4-FFF2-40B4-BE49-F238E27FC236}">
                <a16:creationId xmlns:a16="http://schemas.microsoft.com/office/drawing/2014/main" id="{AE1BBA59-EC18-3D45-8FD0-2F1AE14266D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07" r="24607"/>
          <a:stretch>
            <a:fillRect/>
          </a:stretch>
        </p:blipFill>
        <p:spPr/>
      </p:pic>
      <p:pic>
        <p:nvPicPr>
          <p:cNvPr id="9" name="Marcador de posición de imagen 8">
            <a:extLst>
              <a:ext uri="{FF2B5EF4-FFF2-40B4-BE49-F238E27FC236}">
                <a16:creationId xmlns:a16="http://schemas.microsoft.com/office/drawing/2014/main" id="{ADD0C34D-CC84-134B-8245-D3C111C5C5F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36" b="3136"/>
          <a:stretch>
            <a:fillRect/>
          </a:stretch>
        </p:blipFill>
        <p:spPr/>
      </p:pic>
      <p:pic>
        <p:nvPicPr>
          <p:cNvPr id="13" name="Marcador de posición de imagen 12">
            <a:extLst>
              <a:ext uri="{FF2B5EF4-FFF2-40B4-BE49-F238E27FC236}">
                <a16:creationId xmlns:a16="http://schemas.microsoft.com/office/drawing/2014/main" id="{03632C5E-2FA4-7941-80BE-0E2806D1C2F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57" r="33657"/>
          <a:stretch/>
        </p:blipFill>
        <p:spPr>
          <a:xfrm>
            <a:off x="-3483" y="1042416"/>
            <a:ext cx="2924868" cy="3838663"/>
          </a:xfrm>
        </p:spPr>
      </p:pic>
      <p:sp>
        <p:nvSpPr>
          <p:cNvPr id="6" name="Título 5">
            <a:extLst>
              <a:ext uri="{FF2B5EF4-FFF2-40B4-BE49-F238E27FC236}">
                <a16:creationId xmlns:a16="http://schemas.microsoft.com/office/drawing/2014/main" id="{C2389652-84A1-2E4A-B93C-B375F7A534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melding of packaging, aerospace and pride</a:t>
            </a:r>
            <a:endParaRPr lang="es-ES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9B2CCC97-7D46-CE4B-9792-30D90E0AAA15}"/>
              </a:ext>
            </a:extLst>
          </p:cNvPr>
          <p:cNvSpPr/>
          <p:nvPr/>
        </p:nvSpPr>
        <p:spPr>
          <a:xfrm>
            <a:off x="828015" y="4250143"/>
            <a:ext cx="1261872" cy="12618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-Light"/>
              <a:ea typeface="+mn-ea"/>
              <a:cs typeface="+mn-cs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B54418F3-FF16-B545-A722-BE5198D6E01C}"/>
              </a:ext>
            </a:extLst>
          </p:cNvPr>
          <p:cNvSpPr txBox="1"/>
          <p:nvPr/>
        </p:nvSpPr>
        <p:spPr>
          <a:xfrm>
            <a:off x="1221207" y="4250143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21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7FD39191-5294-BA4A-8FDB-669D90925C0F}"/>
              </a:ext>
            </a:extLst>
          </p:cNvPr>
          <p:cNvSpPr txBox="1"/>
          <p:nvPr/>
        </p:nvSpPr>
        <p:spPr>
          <a:xfrm>
            <a:off x="961859" y="4445314"/>
            <a:ext cx="9941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11.4B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F259685-CCB8-A54E-B26A-5310687F0B45}"/>
              </a:ext>
            </a:extLst>
          </p:cNvPr>
          <p:cNvSpPr txBox="1"/>
          <p:nvPr/>
        </p:nvSpPr>
        <p:spPr>
          <a:xfrm>
            <a:off x="1041978" y="4908006"/>
            <a:ext cx="833946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EVERA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ACKAG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ALES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37344791-E7FA-5148-A106-80337F77DC82}"/>
              </a:ext>
            </a:extLst>
          </p:cNvPr>
          <p:cNvSpPr/>
          <p:nvPr/>
        </p:nvSpPr>
        <p:spPr>
          <a:xfrm>
            <a:off x="3927831" y="4250143"/>
            <a:ext cx="1261872" cy="126187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-Light"/>
              <a:ea typeface="+mn-ea"/>
              <a:cs typeface="+mn-cs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4CD16F12-CDE3-AA4E-B1F5-0E92CE172FB6}"/>
              </a:ext>
            </a:extLst>
          </p:cNvPr>
          <p:cNvSpPr txBox="1"/>
          <p:nvPr/>
        </p:nvSpPr>
        <p:spPr>
          <a:xfrm>
            <a:off x="4321023" y="4250143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21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D13DF09D-C11F-F34E-8C7B-9D3789DF0CDA}"/>
              </a:ext>
            </a:extLst>
          </p:cNvPr>
          <p:cNvSpPr txBox="1"/>
          <p:nvPr/>
        </p:nvSpPr>
        <p:spPr>
          <a:xfrm>
            <a:off x="4052057" y="4445314"/>
            <a:ext cx="10134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$1.9B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5644D620-2316-BA4D-912B-2F3DF7637DF0}"/>
              </a:ext>
            </a:extLst>
          </p:cNvPr>
          <p:cNvSpPr txBox="1"/>
          <p:nvPr/>
        </p:nvSpPr>
        <p:spPr>
          <a:xfrm>
            <a:off x="4144232" y="4908006"/>
            <a:ext cx="82907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EROSPA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ALES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07927EF-DB35-A644-8E94-A19F3078C91B}"/>
              </a:ext>
            </a:extLst>
          </p:cNvPr>
          <p:cNvSpPr/>
          <p:nvPr/>
        </p:nvSpPr>
        <p:spPr>
          <a:xfrm>
            <a:off x="10102113" y="4250143"/>
            <a:ext cx="1261872" cy="12618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-Light"/>
              <a:ea typeface="+mn-ea"/>
              <a:cs typeface="+mn-cs"/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23ED7E63-8708-D34B-9E56-5086C0369973}"/>
              </a:ext>
            </a:extLst>
          </p:cNvPr>
          <p:cNvSpPr txBox="1"/>
          <p:nvPr/>
        </p:nvSpPr>
        <p:spPr>
          <a:xfrm>
            <a:off x="10495305" y="4250143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21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07DD5B19-B693-4B4D-AC63-9ABA7509E254}"/>
              </a:ext>
            </a:extLst>
          </p:cNvPr>
          <p:cNvSpPr txBox="1"/>
          <p:nvPr/>
        </p:nvSpPr>
        <p:spPr>
          <a:xfrm>
            <a:off x="10146992" y="4445314"/>
            <a:ext cx="117211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$13.8B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3B3AB1B1-9C2A-C540-BEE2-14C8DD467425}"/>
              </a:ext>
            </a:extLst>
          </p:cNvPr>
          <p:cNvSpPr txBox="1"/>
          <p:nvPr/>
        </p:nvSpPr>
        <p:spPr>
          <a:xfrm>
            <a:off x="10481217" y="4908006"/>
            <a:ext cx="503664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ALE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E7AEAA6D-159E-4EF3-8547-F3517948B82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61" t="15489" r="32252" b="13783"/>
          <a:stretch/>
        </p:blipFill>
        <p:spPr>
          <a:xfrm>
            <a:off x="6185696" y="1042417"/>
            <a:ext cx="2922305" cy="3838662"/>
          </a:xfrm>
          <a:prstGeom prst="rect">
            <a:avLst/>
          </a:prstGeom>
        </p:spPr>
      </p:pic>
      <p:sp>
        <p:nvSpPr>
          <p:cNvPr id="24" name="Rectángulo 23">
            <a:extLst>
              <a:ext uri="{FF2B5EF4-FFF2-40B4-BE49-F238E27FC236}">
                <a16:creationId xmlns:a16="http://schemas.microsoft.com/office/drawing/2014/main" id="{80401965-7DB4-074D-B72F-AF0B257AD0E6}"/>
              </a:ext>
            </a:extLst>
          </p:cNvPr>
          <p:cNvSpPr/>
          <p:nvPr/>
        </p:nvSpPr>
        <p:spPr>
          <a:xfrm>
            <a:off x="7002299" y="4250143"/>
            <a:ext cx="1261872" cy="1261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-Light"/>
              <a:ea typeface="+mn-ea"/>
              <a:cs typeface="+mn-c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C0396009-D444-A24E-8760-BE07C67D768F}"/>
              </a:ext>
            </a:extLst>
          </p:cNvPr>
          <p:cNvSpPr txBox="1"/>
          <p:nvPr/>
        </p:nvSpPr>
        <p:spPr>
          <a:xfrm>
            <a:off x="7395491" y="4250143"/>
            <a:ext cx="46038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21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526B89BA-A568-C049-BF7F-F732EE28AE14}"/>
              </a:ext>
            </a:extLst>
          </p:cNvPr>
          <p:cNvSpPr txBox="1"/>
          <p:nvPr/>
        </p:nvSpPr>
        <p:spPr>
          <a:xfrm>
            <a:off x="7126525" y="4445314"/>
            <a:ext cx="10134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$0.5B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DE1C8612-06B6-6341-BB31-98CDE6F43DC9}"/>
              </a:ext>
            </a:extLst>
          </p:cNvPr>
          <p:cNvSpPr txBox="1"/>
          <p:nvPr/>
        </p:nvSpPr>
        <p:spPr>
          <a:xfrm>
            <a:off x="7243547" y="4908006"/>
            <a:ext cx="779381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EROS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RODUC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ALES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A473109A-6CD4-45EF-B6B7-B566DA167EC4}"/>
              </a:ext>
            </a:extLst>
          </p:cNvPr>
          <p:cNvSpPr txBox="1">
            <a:spLocks/>
          </p:cNvSpPr>
          <p:nvPr/>
        </p:nvSpPr>
        <p:spPr>
          <a:xfrm>
            <a:off x="5056319" y="5258290"/>
            <a:ext cx="2151081" cy="1383694"/>
          </a:xfrm>
          <a:prstGeom prst="rect">
            <a:avLst/>
          </a:prstGeom>
        </p:spPr>
        <p:txBody>
          <a:bodyPr lIns="0" rIns="6858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SzPct val="80000"/>
              <a:buFont typeface="Arial" panose="020B0604020202020204" pitchFamily="34" charset="0"/>
              <a:buNone/>
              <a:defRPr sz="2000" b="0" i="0" kern="1200" baseline="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548640" indent="-27432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822960" indent="-27432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097280" indent="-27432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109728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ounded: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188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mployees: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4 3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Headquarters: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Westminster, CO US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17579F2-5D19-48EE-9FB5-2C8EB8F89FEF}"/>
              </a:ext>
            </a:extLst>
          </p:cNvPr>
          <p:cNvSpPr txBox="1"/>
          <p:nvPr/>
        </p:nvSpPr>
        <p:spPr>
          <a:xfrm>
            <a:off x="11543731" y="6357581"/>
            <a:ext cx="37531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1000" b="1" dirty="0">
                <a:latin typeface="Arial"/>
                <a:cs typeface="Arial"/>
              </a:rPr>
              <a:t>5</a:t>
            </a:r>
            <a:endParaRPr lang="en-US" sz="10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155333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5AA0F0-0D5E-1F47-BE6A-3973841A0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>
                <a:ea typeface="ＭＳ Ｐゴシック" charset="0"/>
                <a:cs typeface="Arial"/>
              </a:rPr>
              <a:t>GLOBAL CUSTOMERS Put their trust and products in ours</a:t>
            </a:r>
            <a:endParaRPr lang="es-ES"/>
          </a:p>
        </p:txBody>
      </p:sp>
      <p:pic>
        <p:nvPicPr>
          <p:cNvPr id="4" name="Picture 35" descr="logo_abinbev">
            <a:extLst>
              <a:ext uri="{FF2B5EF4-FFF2-40B4-BE49-F238E27FC236}">
                <a16:creationId xmlns:a16="http://schemas.microsoft.com/office/drawing/2014/main" id="{5B88AD02-514C-4A46-8B23-6B5B7E8E4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8493" y="1212032"/>
            <a:ext cx="1005578" cy="482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Red Bull Logo Download Vector">
            <a:extLst>
              <a:ext uri="{FF2B5EF4-FFF2-40B4-BE49-F238E27FC236}">
                <a16:creationId xmlns:a16="http://schemas.microsoft.com/office/drawing/2014/main" id="{EFC82C5F-C9D6-A042-94E9-14CF6262F3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67" b="37948"/>
          <a:stretch/>
        </p:blipFill>
        <p:spPr bwMode="auto">
          <a:xfrm>
            <a:off x="1541897" y="2501376"/>
            <a:ext cx="1022544" cy="232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Coca-Cola HBC — Википедија">
            <a:extLst>
              <a:ext uri="{FF2B5EF4-FFF2-40B4-BE49-F238E27FC236}">
                <a16:creationId xmlns:a16="http://schemas.microsoft.com/office/drawing/2014/main" id="{FCA0C3C7-9094-3545-9D9F-9E10FC56D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433" y="1360860"/>
            <a:ext cx="1005578" cy="33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Datei:Pepsico-logo.svg – Wikipedia">
            <a:extLst>
              <a:ext uri="{FF2B5EF4-FFF2-40B4-BE49-F238E27FC236}">
                <a16:creationId xmlns:a16="http://schemas.microsoft.com/office/drawing/2014/main" id="{A4FE4B5C-410A-C84C-A2D1-76C4B8FE4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628" y="2486990"/>
            <a:ext cx="1005578" cy="247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Home | Molson Coors">
            <a:extLst>
              <a:ext uri="{FF2B5EF4-FFF2-40B4-BE49-F238E27FC236}">
                <a16:creationId xmlns:a16="http://schemas.microsoft.com/office/drawing/2014/main" id="{E3E2A4AB-E1DD-3446-8BE2-AA7250B45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597" y="1410225"/>
            <a:ext cx="1002139" cy="23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Carlsberg (Brauerei) – Wikipedia">
            <a:extLst>
              <a:ext uri="{FF2B5EF4-FFF2-40B4-BE49-F238E27FC236}">
                <a16:creationId xmlns:a16="http://schemas.microsoft.com/office/drawing/2014/main" id="{A8258A95-0F5A-7843-AD0D-7A9422F8A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4150" y="1336592"/>
            <a:ext cx="1005578" cy="413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2">
            <a:extLst>
              <a:ext uri="{FF2B5EF4-FFF2-40B4-BE49-F238E27FC236}">
                <a16:creationId xmlns:a16="http://schemas.microsoft.com/office/drawing/2014/main" id="{9EBB302A-D8DF-2B42-8F62-BFFDD2F8940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52509" y="1380576"/>
            <a:ext cx="1005578" cy="294084"/>
          </a:xfrm>
          <a:prstGeom prst="rect">
            <a:avLst/>
          </a:prstGeom>
        </p:spPr>
      </p:pic>
      <p:pic>
        <p:nvPicPr>
          <p:cNvPr id="11" name="Picture 20" descr="Home">
            <a:extLst>
              <a:ext uri="{FF2B5EF4-FFF2-40B4-BE49-F238E27FC236}">
                <a16:creationId xmlns:a16="http://schemas.microsoft.com/office/drawing/2014/main" id="{6518F915-E7C6-C048-A658-F1E1EDE619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771"/>
          <a:stretch/>
        </p:blipFill>
        <p:spPr bwMode="auto">
          <a:xfrm>
            <a:off x="2782956" y="2243322"/>
            <a:ext cx="786374" cy="749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4">
            <a:extLst>
              <a:ext uri="{FF2B5EF4-FFF2-40B4-BE49-F238E27FC236}">
                <a16:creationId xmlns:a16="http://schemas.microsoft.com/office/drawing/2014/main" id="{6ED0AB14-5B74-0947-A540-A18E194D4FF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884857" y="3590184"/>
            <a:ext cx="1005578" cy="266379"/>
          </a:xfrm>
          <a:prstGeom prst="rect">
            <a:avLst/>
          </a:prstGeom>
        </p:spPr>
      </p:pic>
      <p:pic>
        <p:nvPicPr>
          <p:cNvPr id="13" name="Picture 26">
            <a:extLst>
              <a:ext uri="{FF2B5EF4-FFF2-40B4-BE49-F238E27FC236}">
                <a16:creationId xmlns:a16="http://schemas.microsoft.com/office/drawing/2014/main" id="{EA7124E3-0E6F-0E41-842B-1F41D83DC9B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42960" y="4644627"/>
            <a:ext cx="1005578" cy="386249"/>
          </a:xfrm>
          <a:prstGeom prst="rect">
            <a:avLst/>
          </a:prstGeom>
        </p:spPr>
      </p:pic>
      <p:pic>
        <p:nvPicPr>
          <p:cNvPr id="14" name="Picture 83">
            <a:extLst>
              <a:ext uri="{FF2B5EF4-FFF2-40B4-BE49-F238E27FC236}">
                <a16:creationId xmlns:a16="http://schemas.microsoft.com/office/drawing/2014/main" id="{930506F2-A806-4A4C-B60D-4DA2F83B811E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7" t="21041" r="25455" b="21960"/>
          <a:stretch/>
        </p:blipFill>
        <p:spPr>
          <a:xfrm>
            <a:off x="6468883" y="2297953"/>
            <a:ext cx="1005578" cy="658950"/>
          </a:xfrm>
          <a:prstGeom prst="rect">
            <a:avLst/>
          </a:prstGeom>
          <a:noFill/>
        </p:spPr>
      </p:pic>
      <p:pic>
        <p:nvPicPr>
          <p:cNvPr id="15" name="Picture 6" descr="http://t0.gstatic.com/images?q=tbn:JgekR3nM68kRRM:http://students.cec.wustl.edu/~swe/2009%2520Conference/Logos/logo_l_oreal.jpg">
            <a:hlinkClick r:id="rId14"/>
            <a:extLst>
              <a:ext uri="{FF2B5EF4-FFF2-40B4-BE49-F238E27FC236}">
                <a16:creationId xmlns:a16="http://schemas.microsoft.com/office/drawing/2014/main" id="{995C47D0-A72D-AE42-8017-6C53EE06E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717619" y="2501376"/>
            <a:ext cx="1005578" cy="256829"/>
          </a:xfrm>
          <a:prstGeom prst="rect">
            <a:avLst/>
          </a:prstGeom>
          <a:noFill/>
        </p:spPr>
      </p:pic>
      <p:pic>
        <p:nvPicPr>
          <p:cNvPr id="16" name="Picture 2" descr="http://t3.gstatic.com/images?q=tbn:_cFnC7ZhozSOnM:http://www.admire.be/pages/references/References/UnileverLogo.jpg">
            <a:hlinkClick r:id="rId16"/>
            <a:extLst>
              <a:ext uri="{FF2B5EF4-FFF2-40B4-BE49-F238E27FC236}">
                <a16:creationId xmlns:a16="http://schemas.microsoft.com/office/drawing/2014/main" id="{A348E508-E7DB-C94B-9BD1-09A0242AC7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560299" y="1058090"/>
            <a:ext cx="822746" cy="939054"/>
          </a:xfrm>
          <a:prstGeom prst="rect">
            <a:avLst/>
          </a:prstGeom>
          <a:noFill/>
        </p:spPr>
      </p:pic>
      <p:pic>
        <p:nvPicPr>
          <p:cNvPr id="17" name="Picture 27">
            <a:extLst>
              <a:ext uri="{FF2B5EF4-FFF2-40B4-BE49-F238E27FC236}">
                <a16:creationId xmlns:a16="http://schemas.microsoft.com/office/drawing/2014/main" id="{0FF1151F-68BF-F347-8A61-8A694C995C8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748050" y="1291812"/>
            <a:ext cx="1005578" cy="439525"/>
          </a:xfrm>
          <a:prstGeom prst="rect">
            <a:avLst/>
          </a:prstGeom>
        </p:spPr>
      </p:pic>
      <p:pic>
        <p:nvPicPr>
          <p:cNvPr id="18" name="Picture 26" descr="https://www.beiersdorf.de/~/media/Beiersdorf-Reference-Site/Header/Logo.png?h=78&amp;w=226&amp;la=de-DE&amp;hash=642F2051441C5CD5EB63FA77887A10A0A5540A51">
            <a:extLst>
              <a:ext uri="{FF2B5EF4-FFF2-40B4-BE49-F238E27FC236}">
                <a16:creationId xmlns:a16="http://schemas.microsoft.com/office/drawing/2014/main" id="{A2C86D31-FEB2-0B4D-A2EF-F36AC64E93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9821" y="3545559"/>
            <a:ext cx="1005578" cy="347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0">
            <a:extLst>
              <a:ext uri="{FF2B5EF4-FFF2-40B4-BE49-F238E27FC236}">
                <a16:creationId xmlns:a16="http://schemas.microsoft.com/office/drawing/2014/main" id="{F7D8E364-AAE3-724F-BC75-B3FEBA39DEC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546436" y="1054492"/>
            <a:ext cx="914162" cy="914162"/>
          </a:xfrm>
          <a:prstGeom prst="rect">
            <a:avLst/>
          </a:prstGeom>
        </p:spPr>
      </p:pic>
      <p:pic>
        <p:nvPicPr>
          <p:cNvPr id="20" name="Picture 9215">
            <a:extLst>
              <a:ext uri="{FF2B5EF4-FFF2-40B4-BE49-F238E27FC236}">
                <a16:creationId xmlns:a16="http://schemas.microsoft.com/office/drawing/2014/main" id="{94662922-A956-3E40-B332-BF9CFEB3944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717418" y="1100200"/>
            <a:ext cx="822746" cy="822746"/>
          </a:xfrm>
          <a:prstGeom prst="rect">
            <a:avLst/>
          </a:prstGeom>
        </p:spPr>
      </p:pic>
      <p:pic>
        <p:nvPicPr>
          <p:cNvPr id="21" name="Picture 9216">
            <a:extLst>
              <a:ext uri="{FF2B5EF4-FFF2-40B4-BE49-F238E27FC236}">
                <a16:creationId xmlns:a16="http://schemas.microsoft.com/office/drawing/2014/main" id="{F2500031-0A75-C84A-A96D-4B602409779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0709300" y="2147160"/>
            <a:ext cx="845254" cy="845254"/>
          </a:xfrm>
          <a:prstGeom prst="rect">
            <a:avLst/>
          </a:prstGeom>
        </p:spPr>
      </p:pic>
      <p:pic>
        <p:nvPicPr>
          <p:cNvPr id="22" name="Picture 30" descr="US-NationalGeospatialIntelligenceAgency-2008Seal.svg">
            <a:extLst>
              <a:ext uri="{FF2B5EF4-FFF2-40B4-BE49-F238E27FC236}">
                <a16:creationId xmlns:a16="http://schemas.microsoft.com/office/drawing/2014/main" id="{54A69F3F-6820-524D-B2D3-437C9B854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7364" y="2154030"/>
            <a:ext cx="838383" cy="83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3" descr="logo_boeing.gif">
            <a:extLst>
              <a:ext uri="{FF2B5EF4-FFF2-40B4-BE49-F238E27FC236}">
                <a16:creationId xmlns:a16="http://schemas.microsoft.com/office/drawing/2014/main" id="{4E987745-B489-0443-8840-6882848FBB3E}"/>
              </a:ext>
            </a:extLst>
          </p:cNvPr>
          <p:cNvPicPr>
            <a:picLocks noChangeAspect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373533" y="3503744"/>
            <a:ext cx="1096994" cy="343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39" descr="Logo_Northrop.gif">
            <a:extLst>
              <a:ext uri="{FF2B5EF4-FFF2-40B4-BE49-F238E27FC236}">
                <a16:creationId xmlns:a16="http://schemas.microsoft.com/office/drawing/2014/main" id="{16BD7F73-22DE-014B-9322-356F08098CB0}"/>
              </a:ext>
            </a:extLst>
          </p:cNvPr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626130" y="4697576"/>
            <a:ext cx="1005321" cy="19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7" descr="Raytheon">
            <a:hlinkClick r:id="rId26"/>
            <a:extLst>
              <a:ext uri="{FF2B5EF4-FFF2-40B4-BE49-F238E27FC236}">
                <a16:creationId xmlns:a16="http://schemas.microsoft.com/office/drawing/2014/main" id="{F06C38C3-0BC3-CD44-B89A-82BB0D70F6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7704" y="4679407"/>
            <a:ext cx="1008651" cy="211848"/>
          </a:xfrm>
          <a:prstGeom prst="rect">
            <a:avLst/>
          </a:prstGeom>
          <a:noFill/>
        </p:spPr>
      </p:pic>
      <p:pic>
        <p:nvPicPr>
          <p:cNvPr id="26" name="Picture 9217">
            <a:extLst>
              <a:ext uri="{FF2B5EF4-FFF2-40B4-BE49-F238E27FC236}">
                <a16:creationId xmlns:a16="http://schemas.microsoft.com/office/drawing/2014/main" id="{43EF7A77-ED84-8143-A0F3-A942D8490F87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655676" y="3552999"/>
            <a:ext cx="1094016" cy="359277"/>
          </a:xfrm>
          <a:prstGeom prst="rect">
            <a:avLst/>
          </a:prstGeom>
        </p:spPr>
      </p:pic>
      <p:pic>
        <p:nvPicPr>
          <p:cNvPr id="27" name="Picture 34" descr="Rocsktar Energy">
            <a:extLst>
              <a:ext uri="{FF2B5EF4-FFF2-40B4-BE49-F238E27FC236}">
                <a16:creationId xmlns:a16="http://schemas.microsoft.com/office/drawing/2014/main" id="{396EEF86-2272-B14F-87FA-83CECA26A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9836" y="4678482"/>
            <a:ext cx="1073174" cy="318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6" descr="Constellation Brands | LinkedIn">
            <a:extLst>
              <a:ext uri="{FF2B5EF4-FFF2-40B4-BE49-F238E27FC236}">
                <a16:creationId xmlns:a16="http://schemas.microsoft.com/office/drawing/2014/main" id="{D2A83124-18A6-E744-B5FC-D40F61CB95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306" y="2134694"/>
            <a:ext cx="965616" cy="965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9218">
            <a:extLst>
              <a:ext uri="{FF2B5EF4-FFF2-40B4-BE49-F238E27FC236}">
                <a16:creationId xmlns:a16="http://schemas.microsoft.com/office/drawing/2014/main" id="{2759C063-6737-694E-A984-81DD1ABEF2A8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673353" y="5772072"/>
            <a:ext cx="1005578" cy="316637"/>
          </a:xfrm>
          <a:prstGeom prst="rect">
            <a:avLst/>
          </a:prstGeom>
        </p:spPr>
      </p:pic>
      <p:pic>
        <p:nvPicPr>
          <p:cNvPr id="30" name="Picture 38" descr="Oskar Blues Brewery Official Digital Assets | Brandfolder">
            <a:extLst>
              <a:ext uri="{FF2B5EF4-FFF2-40B4-BE49-F238E27FC236}">
                <a16:creationId xmlns:a16="http://schemas.microsoft.com/office/drawing/2014/main" id="{85DACBF0-252C-7042-98DC-9CA9AEF1C2C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73" t="21161" r="18959" b="21419"/>
          <a:stretch/>
        </p:blipFill>
        <p:spPr bwMode="auto">
          <a:xfrm>
            <a:off x="565051" y="3288647"/>
            <a:ext cx="639913" cy="773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40" descr="ASI welcomes S.A. Damm as new Industrial User member - Aluminium  Stewardship Initiative">
            <a:extLst>
              <a:ext uri="{FF2B5EF4-FFF2-40B4-BE49-F238E27FC236}">
                <a16:creationId xmlns:a16="http://schemas.microsoft.com/office/drawing/2014/main" id="{3AAA1430-7A36-5D48-B00C-34A49AABB4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2359" y="4674186"/>
            <a:ext cx="1096994" cy="351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2" descr="Royal Unibrew">
            <a:extLst>
              <a:ext uri="{FF2B5EF4-FFF2-40B4-BE49-F238E27FC236}">
                <a16:creationId xmlns:a16="http://schemas.microsoft.com/office/drawing/2014/main" id="{2B368516-9011-2841-93A1-4F36A3C0C1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351" y="3363212"/>
            <a:ext cx="914162" cy="624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9225">
            <a:extLst>
              <a:ext uri="{FF2B5EF4-FFF2-40B4-BE49-F238E27FC236}">
                <a16:creationId xmlns:a16="http://schemas.microsoft.com/office/drawing/2014/main" id="{8BFE0A26-4656-ED40-9894-62A831895C7A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4991597" y="4734530"/>
            <a:ext cx="1005578" cy="206442"/>
          </a:xfrm>
          <a:prstGeom prst="rect">
            <a:avLst/>
          </a:prstGeom>
        </p:spPr>
      </p:pic>
      <p:pic>
        <p:nvPicPr>
          <p:cNvPr id="34" name="Picture 54" descr="Vote - Newvember">
            <a:extLst>
              <a:ext uri="{FF2B5EF4-FFF2-40B4-BE49-F238E27FC236}">
                <a16:creationId xmlns:a16="http://schemas.microsoft.com/office/drawing/2014/main" id="{65D996F1-A25F-4746-8FCB-9439692C1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35" y="4376092"/>
            <a:ext cx="914162" cy="960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9227">
            <a:extLst>
              <a:ext uri="{FF2B5EF4-FFF2-40B4-BE49-F238E27FC236}">
                <a16:creationId xmlns:a16="http://schemas.microsoft.com/office/drawing/2014/main" id="{63AAFD42-F965-BB49-B682-5D4F7360FEE8}"/>
              </a:ext>
            </a:extLst>
          </p:cNvPr>
          <p:cNvPicPr>
            <a:picLocks noChangeAspect="1"/>
          </p:cNvPicPr>
          <p:nvPr/>
        </p:nvPicPr>
        <p:blipFill rotWithShape="1">
          <a:blip r:embed="rId37"/>
          <a:srcRect t="22448" b="19883"/>
          <a:stretch/>
        </p:blipFill>
        <p:spPr>
          <a:xfrm>
            <a:off x="3772930" y="5610923"/>
            <a:ext cx="1107939" cy="638932"/>
          </a:xfrm>
          <a:prstGeom prst="rect">
            <a:avLst/>
          </a:prstGeom>
        </p:spPr>
      </p:pic>
      <p:pic>
        <p:nvPicPr>
          <p:cNvPr id="36" name="Picture 58" descr="Anadolu Efes Logo.svg">
            <a:extLst>
              <a:ext uri="{FF2B5EF4-FFF2-40B4-BE49-F238E27FC236}">
                <a16:creationId xmlns:a16="http://schemas.microsoft.com/office/drawing/2014/main" id="{92FBFEC1-BDED-8F40-B012-3D11B07F1D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1413" y="5722674"/>
            <a:ext cx="880809" cy="43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0" descr="Keurig Dr Pepper Launches New Corporate Responsibility Strategy and  Commitments - BevNET.com">
            <a:extLst>
              <a:ext uri="{FF2B5EF4-FFF2-40B4-BE49-F238E27FC236}">
                <a16:creationId xmlns:a16="http://schemas.microsoft.com/office/drawing/2014/main" id="{FF84BB83-81FD-B24A-90AC-FD8850322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9725" y="2452594"/>
            <a:ext cx="1096994" cy="349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2" descr="Campbells Logo -Logo Brands For Free HD 3D">
            <a:extLst>
              <a:ext uri="{FF2B5EF4-FFF2-40B4-BE49-F238E27FC236}">
                <a16:creationId xmlns:a16="http://schemas.microsoft.com/office/drawing/2014/main" id="{0DC01B15-D110-C140-934C-90BE281852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93" y="5544300"/>
            <a:ext cx="1005578" cy="853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4" descr="https://www.vitacoco.com/wp-content/uploads/2020/03/logo.png">
            <a:extLst>
              <a:ext uri="{FF2B5EF4-FFF2-40B4-BE49-F238E27FC236}">
                <a16:creationId xmlns:a16="http://schemas.microsoft.com/office/drawing/2014/main" id="{C1206637-5A56-7644-9CCB-6A68D23C88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905" y="3431404"/>
            <a:ext cx="761802" cy="533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9231">
            <a:extLst>
              <a:ext uri="{FF2B5EF4-FFF2-40B4-BE49-F238E27FC236}">
                <a16:creationId xmlns:a16="http://schemas.microsoft.com/office/drawing/2014/main" id="{7793A312-5EB0-FD40-9638-38F2D7BE6CC6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5001702" y="5740595"/>
            <a:ext cx="1005578" cy="379589"/>
          </a:xfrm>
          <a:prstGeom prst="rect">
            <a:avLst/>
          </a:prstGeom>
        </p:spPr>
      </p:pic>
      <p:pic>
        <p:nvPicPr>
          <p:cNvPr id="41" name="Picture 9232">
            <a:extLst>
              <a:ext uri="{FF2B5EF4-FFF2-40B4-BE49-F238E27FC236}">
                <a16:creationId xmlns:a16="http://schemas.microsoft.com/office/drawing/2014/main" id="{FA524DB5-755E-274E-9975-619E1A60E536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7700081" y="3552999"/>
            <a:ext cx="1132530" cy="300008"/>
          </a:xfrm>
          <a:prstGeom prst="rect">
            <a:avLst/>
          </a:prstGeom>
        </p:spPr>
      </p:pic>
      <p:pic>
        <p:nvPicPr>
          <p:cNvPr id="42" name="Picture 9233">
            <a:extLst>
              <a:ext uri="{FF2B5EF4-FFF2-40B4-BE49-F238E27FC236}">
                <a16:creationId xmlns:a16="http://schemas.microsoft.com/office/drawing/2014/main" id="{4A37772A-5CC0-6E47-BECD-4881476177AD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7763327" y="4399334"/>
            <a:ext cx="914162" cy="914162"/>
          </a:xfrm>
          <a:prstGeom prst="rect">
            <a:avLst/>
          </a:prstGeom>
        </p:spPr>
      </p:pic>
      <p:pic>
        <p:nvPicPr>
          <p:cNvPr id="43" name="Picture 9236">
            <a:extLst>
              <a:ext uri="{FF2B5EF4-FFF2-40B4-BE49-F238E27FC236}">
                <a16:creationId xmlns:a16="http://schemas.microsoft.com/office/drawing/2014/main" id="{323F2E8B-3227-D94C-BE16-293D710229B5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6365045" y="4530421"/>
            <a:ext cx="1237655" cy="647514"/>
          </a:xfrm>
          <a:prstGeom prst="rect">
            <a:avLst/>
          </a:prstGeom>
        </p:spPr>
      </p:pic>
      <p:pic>
        <p:nvPicPr>
          <p:cNvPr id="44" name="Picture 70" descr="CL: Colgate-Palmolive Company Shares Jump On Sale Rumors">
            <a:extLst>
              <a:ext uri="{FF2B5EF4-FFF2-40B4-BE49-F238E27FC236}">
                <a16:creationId xmlns:a16="http://schemas.microsoft.com/office/drawing/2014/main" id="{898302EE-8780-7048-833A-AA3432CC5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1281" y="5700331"/>
            <a:ext cx="1096994" cy="458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80" descr="Cosmosol | cosmetica aerosol and medical devices">
            <a:extLst>
              <a:ext uri="{FF2B5EF4-FFF2-40B4-BE49-F238E27FC236}">
                <a16:creationId xmlns:a16="http://schemas.microsoft.com/office/drawing/2014/main" id="{68A2D921-69DF-BC43-AC8B-457407F8D7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712" y="5834676"/>
            <a:ext cx="1106672" cy="22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86" descr="www.lockheedmartin.com/content/dam/lockheed-mar...">
            <a:extLst>
              <a:ext uri="{FF2B5EF4-FFF2-40B4-BE49-F238E27FC236}">
                <a16:creationId xmlns:a16="http://schemas.microsoft.com/office/drawing/2014/main" id="{2F00F49B-B8FA-C344-9D01-9BED90D934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94665" y="3515996"/>
            <a:ext cx="1096994" cy="298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88" descr="Environmental Defense Fund | Drupal.org">
            <a:extLst>
              <a:ext uri="{FF2B5EF4-FFF2-40B4-BE49-F238E27FC236}">
                <a16:creationId xmlns:a16="http://schemas.microsoft.com/office/drawing/2014/main" id="{66A59A3F-D523-4342-91AE-2C299EB0CB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0778" y="5739607"/>
            <a:ext cx="1005578" cy="34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9245">
            <a:extLst>
              <a:ext uri="{FF2B5EF4-FFF2-40B4-BE49-F238E27FC236}">
                <a16:creationId xmlns:a16="http://schemas.microsoft.com/office/drawing/2014/main" id="{1C950D14-B0A6-3547-B262-FC7A860067C2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10688201" y="5537049"/>
            <a:ext cx="822746" cy="822746"/>
          </a:xfrm>
          <a:prstGeom prst="rect">
            <a:avLst/>
          </a:prstGeom>
        </p:spPr>
      </p:pic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id="{BD6C3F37-B36A-0646-B8BF-8179139DBDA2}"/>
              </a:ext>
            </a:extLst>
          </p:cNvPr>
          <p:cNvCxnSpPr/>
          <p:nvPr/>
        </p:nvCxnSpPr>
        <p:spPr>
          <a:xfrm>
            <a:off x="6217920" y="1136104"/>
            <a:ext cx="0" cy="542250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id="{AF85C4BE-C234-D543-96A4-C53ACED8A5FB}"/>
              </a:ext>
            </a:extLst>
          </p:cNvPr>
          <p:cNvCxnSpPr/>
          <p:nvPr/>
        </p:nvCxnSpPr>
        <p:spPr>
          <a:xfrm>
            <a:off x="9098280" y="1136104"/>
            <a:ext cx="0" cy="5422508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75C591E-9EE9-490F-77F1-719FCD9DD434}"/>
              </a:ext>
            </a:extLst>
          </p:cNvPr>
          <p:cNvSpPr txBox="1"/>
          <p:nvPr/>
        </p:nvSpPr>
        <p:spPr>
          <a:xfrm>
            <a:off x="11543731" y="6357581"/>
            <a:ext cx="375313" cy="2462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de-DE" sz="1000" b="1" dirty="0">
                <a:latin typeface="Arial"/>
                <a:cs typeface="Arial"/>
              </a:rPr>
              <a:t>6</a:t>
            </a:r>
            <a:endParaRPr lang="en-US" sz="10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568716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arcador de posición de imagen 6">
            <a:extLst>
              <a:ext uri="{FF2B5EF4-FFF2-40B4-BE49-F238E27FC236}">
                <a16:creationId xmlns:a16="http://schemas.microsoft.com/office/drawing/2014/main" id="{262B7D51-0064-FD4A-8FA4-BDC97768D04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47" b="675"/>
          <a:stretch/>
        </p:blipFill>
        <p:spPr>
          <a:xfrm>
            <a:off x="0" y="1042416"/>
            <a:ext cx="12188952" cy="5760720"/>
          </a:xfr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id="{51DB6056-F87F-274B-A2D6-3AF413A86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400" y="201821"/>
            <a:ext cx="11435522" cy="712579"/>
          </a:xfrm>
        </p:spPr>
        <p:txBody>
          <a:bodyPr/>
          <a:lstStyle/>
          <a:p>
            <a:r>
              <a:rPr lang="en-GB"/>
              <a:t>ALL BALL Global Beverage PLANTS ASI-CERTIFIED</a:t>
            </a:r>
            <a:endParaRPr lang="es-ES"/>
          </a:p>
        </p:txBody>
      </p:sp>
      <p:sp>
        <p:nvSpPr>
          <p:cNvPr id="8" name="Rectángulo 2">
            <a:extLst>
              <a:ext uri="{FF2B5EF4-FFF2-40B4-BE49-F238E27FC236}">
                <a16:creationId xmlns:a16="http://schemas.microsoft.com/office/drawing/2014/main" id="{B64A8955-5B31-5744-B2ED-49554E3BF7CA}"/>
              </a:ext>
            </a:extLst>
          </p:cNvPr>
          <p:cNvSpPr/>
          <p:nvPr/>
        </p:nvSpPr>
        <p:spPr>
          <a:xfrm>
            <a:off x="7922524" y="5601902"/>
            <a:ext cx="4266427" cy="1203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b="1"/>
          </a:p>
        </p:txBody>
      </p:sp>
      <p:pic>
        <p:nvPicPr>
          <p:cNvPr id="9" name="Picture 4" descr="Image result for asi performance certified logo&quot;">
            <a:extLst>
              <a:ext uri="{FF2B5EF4-FFF2-40B4-BE49-F238E27FC236}">
                <a16:creationId xmlns:a16="http://schemas.microsoft.com/office/drawing/2014/main" id="{96491A7A-6324-E64B-8ADD-80807DAC5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726" y="5775294"/>
            <a:ext cx="1627247" cy="919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mage result for asi coc certified logo&quot;">
            <a:extLst>
              <a:ext uri="{FF2B5EF4-FFF2-40B4-BE49-F238E27FC236}">
                <a16:creationId xmlns:a16="http://schemas.microsoft.com/office/drawing/2014/main" id="{215935BA-F522-084B-A4AC-3234E1DA03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51" t="12029" r="5111" b="13229"/>
          <a:stretch/>
        </p:blipFill>
        <p:spPr bwMode="auto">
          <a:xfrm>
            <a:off x="10262455" y="5807845"/>
            <a:ext cx="1646198" cy="829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ángulo 2">
            <a:extLst>
              <a:ext uri="{FF2B5EF4-FFF2-40B4-BE49-F238E27FC236}">
                <a16:creationId xmlns:a16="http://schemas.microsoft.com/office/drawing/2014/main" id="{4EDE2F4E-5949-594D-A8EB-A21268162DA5}"/>
              </a:ext>
            </a:extLst>
          </p:cNvPr>
          <p:cNvSpPr/>
          <p:nvPr/>
        </p:nvSpPr>
        <p:spPr>
          <a:xfrm>
            <a:off x="660400" y="1039869"/>
            <a:ext cx="2698817" cy="9236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799" b="1"/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5C7C9FE5-2C21-D94C-A9FE-90A06D901D1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5" t="12093" r="665" b="9934"/>
          <a:stretch/>
        </p:blipFill>
        <p:spPr>
          <a:xfrm>
            <a:off x="881781" y="1203498"/>
            <a:ext cx="2034673" cy="584976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82378035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DF39832-B409-49FD-9F28-56796BC396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3A0F5C-0B3B-4948-8F33-E1B5BD366E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D864375-7006-4D87-95A9-5E0DFCA58C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D35A8CC-A90E-4D39-80EF-F85078E1C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9375FF-8E85-4A47-AF6D-FB002E46CE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311913-7FEB-45A3-91C5-18D886C489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03887B-BB67-4F5E-9445-E0116169462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A2C217D-5D6B-42AB-84FF-9BF91E57004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56" t="3199" r="5051" b="540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43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qCJiY__k2oFHl90btZ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KMpT7gWMDFcFCXhwJN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arsyG_qpm1RjNCiwu5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tmIUkZEFxPAEsRQ8mg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qgmKoyXLEZYmh0_f1Luw"/>
</p:tagLst>
</file>

<file path=ppt/theme/theme1.xml><?xml version="1.0" encoding="utf-8"?>
<a:theme xmlns:a="http://schemas.openxmlformats.org/drawingml/2006/main" name="Novelis AG - LIGHT">
  <a:themeElements>
    <a:clrScheme name="Novelis">
      <a:dk1>
        <a:sysClr val="windowText" lastClr="000000"/>
      </a:dk1>
      <a:lt1>
        <a:sysClr val="window" lastClr="FFFFFF"/>
      </a:lt1>
      <a:dk2>
        <a:srgbClr val="001428"/>
      </a:dk2>
      <a:lt2>
        <a:srgbClr val="FFFFFF"/>
      </a:lt2>
      <a:accent1>
        <a:srgbClr val="A1DD00"/>
      </a:accent1>
      <a:accent2>
        <a:srgbClr val="5FBC23"/>
      </a:accent2>
      <a:accent3>
        <a:srgbClr val="00532A"/>
      </a:accent3>
      <a:accent4>
        <a:srgbClr val="00ADFB"/>
      </a:accent4>
      <a:accent5>
        <a:srgbClr val="1D428A"/>
      </a:accent5>
      <a:accent6>
        <a:srgbClr val="0E2961"/>
      </a:accent6>
      <a:hlink>
        <a:srgbClr val="A1DD00"/>
      </a:hlink>
      <a:folHlink>
        <a:srgbClr val="A1DD00"/>
      </a:folHlink>
    </a:clrScheme>
    <a:fontScheme name="Novel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85750" indent="-285750" algn="l">
          <a:lnSpc>
            <a:spcPct val="110000"/>
          </a:lnSpc>
          <a:spcAft>
            <a:spcPts val="1000"/>
          </a:spcAft>
          <a:buClr>
            <a:schemeClr val="accent1"/>
          </a:buClr>
          <a:buFont typeface="Arial" panose="020B0604020202020204" pitchFamily="34" charset="0"/>
          <a:buChar char="•"/>
          <a:defRPr dirty="0" err="1" smtClean="0">
            <a:solidFill>
              <a:schemeClr val="accent6"/>
            </a:solidFill>
          </a:defRPr>
        </a:defPPr>
      </a:lstStyle>
    </a:txDef>
  </a:objectDefaults>
  <a:extraClrSchemeLst/>
  <a:custClrLst>
    <a:custClr name="Y1">
      <a:srgbClr val="F8D44B"/>
    </a:custClr>
    <a:custClr name="Y2">
      <a:srgbClr val="DF7E26"/>
    </a:custClr>
    <a:custClr name="R1">
      <a:srgbClr val="CA2024"/>
    </a:custClr>
    <a:custClr name="R2">
      <a:srgbClr val="8F162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K1">
      <a:srgbClr val="BFC5C5"/>
    </a:custClr>
    <a:custClr name="K2">
      <a:srgbClr val="787F81"/>
    </a:custClr>
    <a:custClr name="K3">
      <a:srgbClr val="4B5559"/>
    </a:custClr>
    <a:custClr name="K4">
      <a:srgbClr val="000000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G4">
      <a:srgbClr val="00351F"/>
    </a:custClr>
  </a:custClrLst>
  <a:extLst>
    <a:ext uri="{05A4C25C-085E-4340-85A3-A5531E510DB2}">
      <thm15:themeFamily xmlns:thm15="http://schemas.microsoft.com/office/thememl/2012/main" name="Novelis AG" id="{EB573E31-5F8C-4F8A-8700-EF29E10BA8E0}" vid="{8FE2C40C-6C38-4E3C-BC00-A36F3679D91F}"/>
    </a:ext>
  </a:extLst>
</a:theme>
</file>

<file path=ppt/theme/theme2.xml><?xml version="1.0" encoding="utf-8"?>
<a:theme xmlns:a="http://schemas.openxmlformats.org/drawingml/2006/main" name="Novelis AG - DARK">
  <a:themeElements>
    <a:clrScheme name="Novelis">
      <a:dk1>
        <a:sysClr val="windowText" lastClr="000000"/>
      </a:dk1>
      <a:lt1>
        <a:sysClr val="window" lastClr="FFFFFF"/>
      </a:lt1>
      <a:dk2>
        <a:srgbClr val="001428"/>
      </a:dk2>
      <a:lt2>
        <a:srgbClr val="FFFFFF"/>
      </a:lt2>
      <a:accent1>
        <a:srgbClr val="A1DD00"/>
      </a:accent1>
      <a:accent2>
        <a:srgbClr val="5FBC23"/>
      </a:accent2>
      <a:accent3>
        <a:srgbClr val="00532A"/>
      </a:accent3>
      <a:accent4>
        <a:srgbClr val="00ADFB"/>
      </a:accent4>
      <a:accent5>
        <a:srgbClr val="1D428A"/>
      </a:accent5>
      <a:accent6>
        <a:srgbClr val="0E2961"/>
      </a:accent6>
      <a:hlink>
        <a:srgbClr val="A1DD00"/>
      </a:hlink>
      <a:folHlink>
        <a:srgbClr val="A1DD00"/>
      </a:folHlink>
    </a:clrScheme>
    <a:fontScheme name="Novel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>
            <a:solidFill>
              <a:schemeClr val="accent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85750" indent="-285750" algn="l">
          <a:lnSpc>
            <a:spcPct val="110000"/>
          </a:lnSpc>
          <a:spcAft>
            <a:spcPts val="1000"/>
          </a:spcAft>
          <a:buClr>
            <a:schemeClr val="accent1"/>
          </a:buClr>
          <a:buFont typeface="Arial" panose="020B0604020202020204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Y1">
      <a:srgbClr val="F8D44B"/>
    </a:custClr>
    <a:custClr name="Y2">
      <a:srgbClr val="DF7E26"/>
    </a:custClr>
    <a:custClr name="R1">
      <a:srgbClr val="CA2024"/>
    </a:custClr>
    <a:custClr name="R2">
      <a:srgbClr val="8F162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K1">
      <a:srgbClr val="BFC5C5"/>
    </a:custClr>
    <a:custClr name="K2">
      <a:srgbClr val="787F81"/>
    </a:custClr>
    <a:custClr name="K3">
      <a:srgbClr val="4B5559"/>
    </a:custClr>
    <a:custClr name="K4">
      <a:srgbClr val="000000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G4">
      <a:srgbClr val="00351F"/>
    </a:custClr>
  </a:custClrLst>
  <a:extLst>
    <a:ext uri="{05A4C25C-085E-4340-85A3-A5531E510DB2}">
      <thm15:themeFamily xmlns:thm15="http://schemas.microsoft.com/office/thememl/2012/main" name="Novelis AG" id="{EB573E31-5F8C-4F8A-8700-EF29E10BA8E0}" vid="{8FE2C40C-6C38-4E3C-BC00-A36F3679D91F}"/>
    </a:ext>
  </a:extLst>
</a:theme>
</file>

<file path=ppt/theme/theme3.xml><?xml version="1.0" encoding="utf-8"?>
<a:theme xmlns:a="http://schemas.openxmlformats.org/drawingml/2006/main" name="1_Novelis AG - DARK">
  <a:themeElements>
    <a:clrScheme name="Novelis">
      <a:dk1>
        <a:sysClr val="windowText" lastClr="000000"/>
      </a:dk1>
      <a:lt1>
        <a:sysClr val="window" lastClr="FFFFFF"/>
      </a:lt1>
      <a:dk2>
        <a:srgbClr val="001428"/>
      </a:dk2>
      <a:lt2>
        <a:srgbClr val="FFFFFF"/>
      </a:lt2>
      <a:accent1>
        <a:srgbClr val="A1DD00"/>
      </a:accent1>
      <a:accent2>
        <a:srgbClr val="5FBC23"/>
      </a:accent2>
      <a:accent3>
        <a:srgbClr val="00532A"/>
      </a:accent3>
      <a:accent4>
        <a:srgbClr val="00ADFB"/>
      </a:accent4>
      <a:accent5>
        <a:srgbClr val="1D428A"/>
      </a:accent5>
      <a:accent6>
        <a:srgbClr val="0E2961"/>
      </a:accent6>
      <a:hlink>
        <a:srgbClr val="A1DD00"/>
      </a:hlink>
      <a:folHlink>
        <a:srgbClr val="A1DD00"/>
      </a:folHlink>
    </a:clrScheme>
    <a:fontScheme name="Novel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>
            <a:solidFill>
              <a:schemeClr val="accent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85750" indent="-285750" algn="l">
          <a:lnSpc>
            <a:spcPct val="110000"/>
          </a:lnSpc>
          <a:spcAft>
            <a:spcPts val="1000"/>
          </a:spcAft>
          <a:buClr>
            <a:schemeClr val="accent1"/>
          </a:buClr>
          <a:buFont typeface="Arial" panose="020B0604020202020204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Y1">
      <a:srgbClr val="F8D44B"/>
    </a:custClr>
    <a:custClr name="Y2">
      <a:srgbClr val="DF7E26"/>
    </a:custClr>
    <a:custClr name="R1">
      <a:srgbClr val="CA2024"/>
    </a:custClr>
    <a:custClr name="R2">
      <a:srgbClr val="8F1626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K1">
      <a:srgbClr val="BFC5C5"/>
    </a:custClr>
    <a:custClr name="K2">
      <a:srgbClr val="787F81"/>
    </a:custClr>
    <a:custClr name="K3">
      <a:srgbClr val="4B5559"/>
    </a:custClr>
    <a:custClr name="K4">
      <a:srgbClr val="000000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G4">
      <a:srgbClr val="00351F"/>
    </a:custClr>
  </a:custClrLst>
  <a:extLst>
    <a:ext uri="{05A4C25C-085E-4340-85A3-A5531E510DB2}">
      <thm15:themeFamily xmlns:thm15="http://schemas.microsoft.com/office/thememl/2012/main" name="Novelis AG" id="{EB573E31-5F8C-4F8A-8700-EF29E10BA8E0}" vid="{8FE2C40C-6C38-4E3C-BC00-A36F3679D91F}"/>
    </a:ext>
  </a:extLst>
</a:theme>
</file>

<file path=ppt/theme/theme4.xml><?xml version="1.0" encoding="utf-8"?>
<a:theme xmlns:a="http://schemas.openxmlformats.org/drawingml/2006/main" name="Novelis Blue Theme">
  <a:themeElements>
    <a:clrScheme name="Novelis Theme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0E2961"/>
      </a:accent1>
      <a:accent2>
        <a:srgbClr val="1D428A"/>
      </a:accent2>
      <a:accent3>
        <a:srgbClr val="00ADFB"/>
      </a:accent3>
      <a:accent4>
        <a:srgbClr val="00532A"/>
      </a:accent4>
      <a:accent5>
        <a:srgbClr val="5FBC23"/>
      </a:accent5>
      <a:accent6>
        <a:srgbClr val="A1DD00"/>
      </a:accent6>
      <a:hlink>
        <a:srgbClr val="DF7E26"/>
      </a:hlink>
      <a:folHlink>
        <a:srgbClr val="85DFD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ITLE &amp; DIVIDER SLIDES">
  <a:themeElements>
    <a:clrScheme name="Ball Color Palette">
      <a:dk1>
        <a:srgbClr val="000000"/>
      </a:dk1>
      <a:lt1>
        <a:srgbClr val="FFFFFF"/>
      </a:lt1>
      <a:dk2>
        <a:srgbClr val="0078FF"/>
      </a:dk2>
      <a:lt2>
        <a:srgbClr val="00C6FF"/>
      </a:lt2>
      <a:accent1>
        <a:srgbClr val="009BBB"/>
      </a:accent1>
      <a:accent2>
        <a:srgbClr val="FF5433"/>
      </a:accent2>
      <a:accent3>
        <a:srgbClr val="FF8300"/>
      </a:accent3>
      <a:accent4>
        <a:srgbClr val="FFD200"/>
      </a:accent4>
      <a:accent5>
        <a:srgbClr val="00BBBB"/>
      </a:accent5>
      <a:accent6>
        <a:srgbClr val="9063CD"/>
      </a:accent6>
      <a:hlink>
        <a:srgbClr val="000000"/>
      </a:hlink>
      <a:folHlink>
        <a:srgbClr val="000000"/>
      </a:folHlink>
    </a:clrScheme>
    <a:fontScheme name="Office 2">
      <a:majorFont>
        <a:latin typeface="Calibri-Light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alibri-Light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0">
              <a:srgbClr val="0066EE"/>
            </a:gs>
            <a:gs pos="30000">
              <a:srgbClr val="00A0FF"/>
            </a:gs>
            <a:gs pos="70000">
              <a:srgbClr val="00C6FF"/>
            </a:gs>
            <a:gs pos="100000">
              <a:srgbClr val="00DDFF"/>
            </a:gs>
          </a:gsLst>
          <a:lin ang="0" scaled="0"/>
          <a:tileRect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all_PowerPoint_Template_021121_Widescreen.pptx" id="{76331355-5F8D-467C-B988-999CDCCBE7EC}" vid="{3314E227-1AE0-4BFC-BB1C-AA93F243FFB5}"/>
    </a:ext>
  </a:extLst>
</a:theme>
</file>

<file path=ppt/theme/theme6.xml><?xml version="1.0" encoding="utf-8"?>
<a:theme xmlns:a="http://schemas.openxmlformats.org/drawingml/2006/main" name="INTERIOR">
  <a:themeElements>
    <a:clrScheme name="Ball Color Palette">
      <a:dk1>
        <a:srgbClr val="000000"/>
      </a:dk1>
      <a:lt1>
        <a:srgbClr val="FFFFFF"/>
      </a:lt1>
      <a:dk2>
        <a:srgbClr val="0078FF"/>
      </a:dk2>
      <a:lt2>
        <a:srgbClr val="00C6FF"/>
      </a:lt2>
      <a:accent1>
        <a:srgbClr val="009BBB"/>
      </a:accent1>
      <a:accent2>
        <a:srgbClr val="FF5433"/>
      </a:accent2>
      <a:accent3>
        <a:srgbClr val="FF8300"/>
      </a:accent3>
      <a:accent4>
        <a:srgbClr val="FFD200"/>
      </a:accent4>
      <a:accent5>
        <a:srgbClr val="00BBBB"/>
      </a:accent5>
      <a:accent6>
        <a:srgbClr val="9063CD"/>
      </a:accent6>
      <a:hlink>
        <a:srgbClr val="000000"/>
      </a:hlink>
      <a:folHlink>
        <a:srgbClr val="000000"/>
      </a:folHlink>
    </a:clrScheme>
    <a:fontScheme name="Office 2">
      <a:majorFont>
        <a:latin typeface="Calibri-Light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alibri-Light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ll_PowerPoint_Template_021121_Widescreen.pptx" id="{76331355-5F8D-467C-B988-999CDCCBE7EC}" vid="{951491FD-A3D2-457C-A808-99D7C19D8BAA}"/>
    </a:ext>
  </a:extLst>
</a:theme>
</file>

<file path=ppt/theme/theme7.xml><?xml version="1.0" encoding="utf-8"?>
<a:theme xmlns:a="http://schemas.openxmlformats.org/drawingml/2006/main" name="Larissa">
  <a:themeElements>
    <a:clrScheme name="Novelis">
      <a:dk1>
        <a:sysClr val="windowText" lastClr="000000"/>
      </a:dk1>
      <a:lt1>
        <a:sysClr val="window" lastClr="FFFFFF"/>
      </a:lt1>
      <a:dk2>
        <a:srgbClr val="001428"/>
      </a:dk2>
      <a:lt2>
        <a:srgbClr val="FFFFFF"/>
      </a:lt2>
      <a:accent1>
        <a:srgbClr val="A1DD00"/>
      </a:accent1>
      <a:accent2>
        <a:srgbClr val="5FBC23"/>
      </a:accent2>
      <a:accent3>
        <a:srgbClr val="00532A"/>
      </a:accent3>
      <a:accent4>
        <a:srgbClr val="00ADFB"/>
      </a:accent4>
      <a:accent5>
        <a:srgbClr val="1D428A"/>
      </a:accent5>
      <a:accent6>
        <a:srgbClr val="0E2961"/>
      </a:accent6>
      <a:hlink>
        <a:srgbClr val="A1DD00"/>
      </a:hlink>
      <a:folHlink>
        <a:srgbClr val="A1DD00"/>
      </a:folHlink>
    </a:clrScheme>
    <a:fontScheme name="Novel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Novelis">
      <a:dk1>
        <a:sysClr val="windowText" lastClr="000000"/>
      </a:dk1>
      <a:lt1>
        <a:sysClr val="window" lastClr="FFFFFF"/>
      </a:lt1>
      <a:dk2>
        <a:srgbClr val="001428"/>
      </a:dk2>
      <a:lt2>
        <a:srgbClr val="FFFFFF"/>
      </a:lt2>
      <a:accent1>
        <a:srgbClr val="A1DD00"/>
      </a:accent1>
      <a:accent2>
        <a:srgbClr val="5FBC23"/>
      </a:accent2>
      <a:accent3>
        <a:srgbClr val="00532A"/>
      </a:accent3>
      <a:accent4>
        <a:srgbClr val="00ADFB"/>
      </a:accent4>
      <a:accent5>
        <a:srgbClr val="1D428A"/>
      </a:accent5>
      <a:accent6>
        <a:srgbClr val="0E2961"/>
      </a:accent6>
      <a:hlink>
        <a:srgbClr val="A1DD00"/>
      </a:hlink>
      <a:folHlink>
        <a:srgbClr val="A1DD00"/>
      </a:folHlink>
    </a:clrScheme>
    <a:fontScheme name="Noveli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f922d05-ec35-41d8-b13c-1a625ef0f34a" xsi:nil="true"/>
    <TaxCatchAll xmlns="1e9267ef-79e2-47ec-bf1a-d4475bf044eb" xsi:nil="true"/>
    <IconOverlay xmlns="http://schemas.microsoft.com/sharepoint/v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5D43177FDC674ABA27896EC59E3A15" ma:contentTypeVersion="21" ma:contentTypeDescription="Create a new document." ma:contentTypeScope="" ma:versionID="1fd9816f09f3f9073a77f73b258b2c21">
  <xsd:schema xmlns:xsd="http://www.w3.org/2001/XMLSchema" xmlns:xs="http://www.w3.org/2001/XMLSchema" xmlns:p="http://schemas.microsoft.com/office/2006/metadata/properties" xmlns:ns2="af922d05-ec35-41d8-b13c-1a625ef0f34a" xmlns:ns3="1e9267ef-79e2-47ec-bf1a-d4475bf044eb" xmlns:ns4="http://schemas.microsoft.com/sharepoint/v4" targetNamespace="http://schemas.microsoft.com/office/2006/metadata/properties" ma:root="true" ma:fieldsID="c7178530a7a02e60369c770c411ac254" ns2:_="" ns3:_="" ns4:_="">
    <xsd:import namespace="af922d05-ec35-41d8-b13c-1a625ef0f34a"/>
    <xsd:import namespace="1e9267ef-79e2-47ec-bf1a-d4475bf044eb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4:IconOverlay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922d05-ec35-41d8-b13c-1a625ef0f3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displayName="Image Tags_0" ma:hidden="true" ma:internalName="lcf76f155ced4ddcb4097134ff3c332f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9267ef-79e2-47ec-bf1a-d4475bf044eb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0e0f789-18f8-4524-8d40-5721c2add800}" ma:internalName="TaxCatchAll" ma:showField="CatchAllData" ma:web="1e9267ef-79e2-47ec-bf1a-d4475bf044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1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5F122E4-E3BA-4938-B2B5-FB8E034F16AC}">
  <ds:schemaRefs>
    <ds:schemaRef ds:uri="http://schemas.microsoft.com/office/2006/documentManagement/types"/>
    <ds:schemaRef ds:uri="http://schemas.microsoft.com/office/2006/metadata/properties"/>
    <ds:schemaRef ds:uri="http://schemas.microsoft.com/sharepoint/v4"/>
    <ds:schemaRef ds:uri="af922d05-ec35-41d8-b13c-1a625ef0f34a"/>
    <ds:schemaRef ds:uri="http://www.w3.org/XML/1998/namespace"/>
    <ds:schemaRef ds:uri="http://purl.org/dc/elements/1.1/"/>
    <ds:schemaRef ds:uri="1e9267ef-79e2-47ec-bf1a-d4475bf044eb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DCF7886-7BD2-45CA-9338-1A8C005ED4B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36F30F-98A4-4007-BC3F-1189C20F1B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f922d05-ec35-41d8-b13c-1a625ef0f34a"/>
    <ds:schemaRef ds:uri="1e9267ef-79e2-47ec-bf1a-d4475bf044eb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36</Words>
  <Application>Microsoft Office PowerPoint</Application>
  <PresentationFormat>Breitbild</PresentationFormat>
  <Paragraphs>363</Paragraphs>
  <Slides>20</Slides>
  <Notes>18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20</vt:i4>
      </vt:variant>
    </vt:vector>
  </HeadingPairs>
  <TitlesOfParts>
    <vt:vector size="36" baseType="lpstr">
      <vt:lpstr>-apple-system</vt:lpstr>
      <vt:lpstr>Arial</vt:lpstr>
      <vt:lpstr>Arial,Sans-Serif</vt:lpstr>
      <vt:lpstr>Calibri</vt:lpstr>
      <vt:lpstr>Calibri Light</vt:lpstr>
      <vt:lpstr>Calibri-Light</vt:lpstr>
      <vt:lpstr>Georgia</vt:lpstr>
      <vt:lpstr>Inter</vt:lpstr>
      <vt:lpstr>Symbol</vt:lpstr>
      <vt:lpstr>Wingdings</vt:lpstr>
      <vt:lpstr>Novelis AG - LIGHT</vt:lpstr>
      <vt:lpstr>Novelis AG - DARK</vt:lpstr>
      <vt:lpstr>1_Novelis AG - DARK</vt:lpstr>
      <vt:lpstr>Novelis Blue Theme</vt:lpstr>
      <vt:lpstr>TITLE &amp; DIVIDER SLIDES</vt:lpstr>
      <vt:lpstr>INTERIOR</vt:lpstr>
      <vt:lpstr>PowerPoint-Präsentation</vt:lpstr>
      <vt:lpstr>Our Ambition</vt:lpstr>
      <vt:lpstr>Our Ambition</vt:lpstr>
      <vt:lpstr>PowerPoint-Präsentation</vt:lpstr>
      <vt:lpstr>Aluminium Stewardship Initiative </vt:lpstr>
      <vt:lpstr>The melding of packaging, aerospace and pride</vt:lpstr>
      <vt:lpstr>GLOBAL CUSTOMERS Put their trust and products in ours</vt:lpstr>
      <vt:lpstr>ALL BALL Global Beverage PLANTS ASI-CERTIFIED</vt:lpstr>
      <vt:lpstr>PowerPoint-Präsentation</vt:lpstr>
      <vt:lpstr>The Alu Beverage Can Market keeps Growing - 2022-2027</vt:lpstr>
      <vt:lpstr>Potential European Beverage Can Carbon Footprint reduction Pathway (2015-2030, cut-off Approach)</vt:lpstr>
      <vt:lpstr>With closed-loop recycling, materials are recycled back to the same application, and this could be done for multiple cycles </vt:lpstr>
      <vt:lpstr>High collection rates for beverage cans boost the ‘reuse’ of packaging material in a closed-loop scenario</vt:lpstr>
      <vt:lpstr>Aluminium Production Carbon Footprint &amp; Energy Consumption</vt:lpstr>
      <vt:lpstr>Towards 100% Recycled Content</vt:lpstr>
      <vt:lpstr>Towards 100% Recycled Content</vt:lpstr>
      <vt:lpstr>Towards 100% Recycled Content</vt:lpstr>
      <vt:lpstr>Closed-Loop / Can-to-Can</vt:lpstr>
      <vt:lpstr>REAL CIRCULARITY Vision: A CIRCLE THAT NEVER ENDS</vt:lpstr>
      <vt:lpstr>PowerPoint-Präsentation</vt:lpstr>
    </vt:vector>
  </TitlesOfParts>
  <Company>Noveli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elis - Europe Overview Customer Pitch Deck Can</dc:title>
  <dc:creator>Karen Pfennig</dc:creator>
  <cp:lastModifiedBy>Müller, Pia M. (RX-DUS)</cp:lastModifiedBy>
  <cp:revision>56</cp:revision>
  <cp:lastPrinted>2022-09-22T12:48:05Z</cp:lastPrinted>
  <dcterms:created xsi:type="dcterms:W3CDTF">2021-02-15T08:56:41Z</dcterms:created>
  <dcterms:modified xsi:type="dcterms:W3CDTF">2023-02-27T12:5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5D43177FDC674ABA27896EC59E3A15</vt:lpwstr>
  </property>
  <property fmtid="{D5CDD505-2E9C-101B-9397-08002B2CF9AE}" pid="3" name="MediaServiceImageTags">
    <vt:lpwstr/>
  </property>
  <property fmtid="{D5CDD505-2E9C-101B-9397-08002B2CF9AE}" pid="4" name="MSIP_Label_f64f9abf-41d9-4073-8cec-9d70b37e948d_Enabled">
    <vt:lpwstr>true</vt:lpwstr>
  </property>
  <property fmtid="{D5CDD505-2E9C-101B-9397-08002B2CF9AE}" pid="5" name="MSIP_Label_f64f9abf-41d9-4073-8cec-9d70b37e948d_SetDate">
    <vt:lpwstr>2022-07-15T16:55:02Z</vt:lpwstr>
  </property>
  <property fmtid="{D5CDD505-2E9C-101B-9397-08002B2CF9AE}" pid="6" name="MSIP_Label_f64f9abf-41d9-4073-8cec-9d70b37e948d_Method">
    <vt:lpwstr>Standard</vt:lpwstr>
  </property>
  <property fmtid="{D5CDD505-2E9C-101B-9397-08002B2CF9AE}" pid="7" name="MSIP_Label_f64f9abf-41d9-4073-8cec-9d70b37e948d_Name">
    <vt:lpwstr>f64f9abf-41d9-4073-8cec-9d70b37e948d</vt:lpwstr>
  </property>
  <property fmtid="{D5CDD505-2E9C-101B-9397-08002B2CF9AE}" pid="8" name="MSIP_Label_f64f9abf-41d9-4073-8cec-9d70b37e948d_SiteId">
    <vt:lpwstr>d22c77f4-2e36-47f9-91bd-85176efc7a36</vt:lpwstr>
  </property>
  <property fmtid="{D5CDD505-2E9C-101B-9397-08002B2CF9AE}" pid="9" name="MSIP_Label_f64f9abf-41d9-4073-8cec-9d70b37e948d_ActionId">
    <vt:lpwstr>afa81e67-b348-420f-aabf-f49b7d5a68cc</vt:lpwstr>
  </property>
  <property fmtid="{D5CDD505-2E9C-101B-9397-08002B2CF9AE}" pid="10" name="MSIP_Label_f64f9abf-41d9-4073-8cec-9d70b37e948d_ContentBits">
    <vt:lpwstr>0</vt:lpwstr>
  </property>
</Properties>
</file>